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53" r:id="rId4"/>
  </p:sldMasterIdLst>
  <p:notesMasterIdLst>
    <p:notesMasterId r:id="rId24"/>
  </p:notesMasterIdLst>
  <p:handoutMasterIdLst>
    <p:handoutMasterId r:id="rId25"/>
  </p:handoutMasterIdLst>
  <p:sldIdLst>
    <p:sldId id="256" r:id="rId5"/>
    <p:sldId id="308" r:id="rId6"/>
    <p:sldId id="262" r:id="rId7"/>
    <p:sldId id="264" r:id="rId8"/>
    <p:sldId id="285" r:id="rId9"/>
    <p:sldId id="286" r:id="rId10"/>
    <p:sldId id="300" r:id="rId11"/>
    <p:sldId id="287" r:id="rId12"/>
    <p:sldId id="288" r:id="rId13"/>
    <p:sldId id="289" r:id="rId14"/>
    <p:sldId id="290" r:id="rId15"/>
    <p:sldId id="291" r:id="rId16"/>
    <p:sldId id="302" r:id="rId17"/>
    <p:sldId id="303" r:id="rId18"/>
    <p:sldId id="306" r:id="rId19"/>
    <p:sldId id="307" r:id="rId20"/>
    <p:sldId id="294" r:id="rId21"/>
    <p:sldId id="296" r:id="rId22"/>
    <p:sldId id="268" r:id="rId23"/>
  </p:sldIdLst>
  <p:sldSz cx="12192000" cy="6858000"/>
  <p:notesSz cx="6858000" cy="9144000"/>
  <p:custDataLst>
    <p:tags r:id="rId26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127D57-A183-DDE6-9EFE-3D4E8445A436}" name="Toby Garrood (NHS South East London ICB)" initials="TG" userId="S::Toby.Garrood@selondonics.nhs.uk::40d4b33b-a9f3-4412-8da8-46729093398b" providerId="AD"/>
  <p188:author id="{BABB747D-A98B-F7CC-706D-F1168EC3BC55}" name="Finlay Royle (NHS South East London ICB)" initials="" userId="S::Finlay.Royle@selondonics.nhs.uk::98d852fd-315b-4247-9fc6-3383d7d65efb" providerId="AD"/>
  <p188:author id="{CC0D6C9C-7249-0CE7-48BE-AE3898792A44}" name="Cheryl Leung (NHS South East London ICB)" initials="CL" userId="S::Cheryl.Leung@selondonics.nhs.uk::69ff942d-3dc8-44a6-9105-e87f289bfa78" providerId="AD"/>
  <p188:author id="{A21BF99F-A514-C393-47C0-DBD5466AC8F8}" name="Julian Walker (NHS South East London ICB)" initials="" userId="S::julian.walker@selondonics.nhs.uk::45969c22-364c-4734-9606-7c699aabd66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E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130" autoAdjust="0"/>
    <p:restoredTop sz="94660"/>
  </p:normalViewPr>
  <p:slideViewPr>
    <p:cSldViewPr snapToGrid="0">
      <p:cViewPr>
        <p:scale>
          <a:sx n="100" d="100"/>
          <a:sy n="100" d="100"/>
        </p:scale>
        <p:origin x="810" y="3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721B2F5-4DBA-43CF-9FBB-5201C4B61463}" type="doc">
      <dgm:prSet loTypeId="urn:microsoft.com/office/officeart/2005/8/layout/vList2" loCatId="list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DA49B850-9C74-4EA6-839E-82EBBDC47CD0}">
      <dgm:prSet custT="1"/>
      <dgm:spPr/>
      <dgm:t>
        <a:bodyPr/>
        <a:lstStyle/>
        <a:p>
          <a:r>
            <a:rPr lang="en-US" sz="2200" b="1" u="sng"/>
            <a:t>Critical</a:t>
          </a:r>
          <a:r>
            <a:rPr lang="en-US" sz="2200"/>
            <a:t> has been defined as requiring an investigation that is critical to inform </a:t>
          </a:r>
          <a:r>
            <a:rPr lang="en-US" sz="2200" b="1"/>
            <a:t>immediate required treatm</a:t>
          </a:r>
          <a:r>
            <a:rPr lang="en-US" sz="2200"/>
            <a:t>ent which cannot be determined without the investigation(s) e.g. </a:t>
          </a:r>
          <a:r>
            <a:rPr lang="en-US" sz="2200" b="1"/>
            <a:t>within 0-24 hours</a:t>
          </a:r>
          <a:r>
            <a:rPr lang="en-US" sz="2200"/>
            <a:t>.  </a:t>
          </a:r>
        </a:p>
      </dgm:t>
    </dgm:pt>
    <dgm:pt modelId="{FE829BF1-F74C-4555-A944-BEB4E5CB7C1C}" type="parTrans" cxnId="{5E966BF1-97AE-45B7-B0C1-2EB0756C3B37}">
      <dgm:prSet/>
      <dgm:spPr/>
      <dgm:t>
        <a:bodyPr/>
        <a:lstStyle/>
        <a:p>
          <a:endParaRPr lang="en-US"/>
        </a:p>
      </dgm:t>
    </dgm:pt>
    <dgm:pt modelId="{3E2E9167-4B42-441E-899E-5F2F8C922474}" type="sibTrans" cxnId="{5E966BF1-97AE-45B7-B0C1-2EB0756C3B37}">
      <dgm:prSet/>
      <dgm:spPr/>
      <dgm:t>
        <a:bodyPr/>
        <a:lstStyle/>
        <a:p>
          <a:endParaRPr lang="en-US"/>
        </a:p>
      </dgm:t>
    </dgm:pt>
    <dgm:pt modelId="{EF327716-A7B2-45CC-B4D1-457C2A283AF4}">
      <dgm:prSet custT="1"/>
      <dgm:spPr/>
      <dgm:t>
        <a:bodyPr/>
        <a:lstStyle/>
        <a:p>
          <a:r>
            <a:rPr lang="en-US" sz="2200" b="1" u="sng" dirty="0"/>
            <a:t>Important</a:t>
          </a:r>
          <a:r>
            <a:rPr lang="en-US" sz="2200" dirty="0"/>
            <a:t> has been defined as required for safe clinical management e.g. </a:t>
          </a:r>
          <a:r>
            <a:rPr lang="en-US" sz="2200" b="1" dirty="0"/>
            <a:t>within 1 week </a:t>
          </a:r>
        </a:p>
      </dgm:t>
    </dgm:pt>
    <dgm:pt modelId="{88554783-9EB1-46C0-B6E4-99EDB68661C6}" type="parTrans" cxnId="{1BA8C9C8-1A2B-4895-AA34-D68B6D1678D0}">
      <dgm:prSet/>
      <dgm:spPr/>
      <dgm:t>
        <a:bodyPr/>
        <a:lstStyle/>
        <a:p>
          <a:endParaRPr lang="en-US"/>
        </a:p>
      </dgm:t>
    </dgm:pt>
    <dgm:pt modelId="{C457B74A-3626-47CF-9039-8DCD9F8363FC}" type="sibTrans" cxnId="{1BA8C9C8-1A2B-4895-AA34-D68B6D1678D0}">
      <dgm:prSet/>
      <dgm:spPr/>
      <dgm:t>
        <a:bodyPr/>
        <a:lstStyle/>
        <a:p>
          <a:endParaRPr lang="en-US"/>
        </a:p>
      </dgm:t>
    </dgm:pt>
    <dgm:pt modelId="{A4406487-868F-4058-9A7D-242C249C8C39}">
      <dgm:prSet custT="1"/>
      <dgm:spPr/>
      <dgm:t>
        <a:bodyPr/>
        <a:lstStyle/>
        <a:p>
          <a:r>
            <a:rPr lang="en-US" sz="2200" b="1" u="sng" dirty="0"/>
            <a:t>Routine</a:t>
          </a:r>
          <a:r>
            <a:rPr lang="en-US" sz="2200" b="1" dirty="0"/>
            <a:t> </a:t>
          </a:r>
          <a:r>
            <a:rPr lang="en-US" sz="2200" dirty="0"/>
            <a:t>has been defined as required for appropriate </a:t>
          </a:r>
          <a:r>
            <a:rPr lang="en-US" sz="2200" b="1" dirty="0"/>
            <a:t>ongoing</a:t>
          </a:r>
          <a:r>
            <a:rPr lang="en-US" sz="2200" dirty="0"/>
            <a:t> clinical management but can be reasonably deferred e.g. within </a:t>
          </a:r>
          <a:r>
            <a:rPr lang="en-US" sz="2200" b="1" u="none" dirty="0"/>
            <a:t>1- 3 months</a:t>
          </a:r>
          <a:r>
            <a:rPr lang="en-US" sz="2200" dirty="0"/>
            <a:t>.</a:t>
          </a:r>
        </a:p>
      </dgm:t>
    </dgm:pt>
    <dgm:pt modelId="{07A4D2A1-9E08-4B8A-B22C-6C9B562173E4}" type="parTrans" cxnId="{C3343599-11A5-4306-BF5D-A61F0921A227}">
      <dgm:prSet/>
      <dgm:spPr/>
      <dgm:t>
        <a:bodyPr/>
        <a:lstStyle/>
        <a:p>
          <a:endParaRPr lang="en-US"/>
        </a:p>
      </dgm:t>
    </dgm:pt>
    <dgm:pt modelId="{9885043A-B258-4ED4-A9B0-82FB90C56E7A}" type="sibTrans" cxnId="{C3343599-11A5-4306-BF5D-A61F0921A227}">
      <dgm:prSet/>
      <dgm:spPr/>
      <dgm:t>
        <a:bodyPr/>
        <a:lstStyle/>
        <a:p>
          <a:endParaRPr lang="en-US"/>
        </a:p>
      </dgm:t>
    </dgm:pt>
    <dgm:pt modelId="{835C55A7-421D-49EF-8925-11728AC9057F}">
      <dgm:prSet custT="1"/>
      <dgm:spPr/>
      <dgm:t>
        <a:bodyPr/>
        <a:lstStyle/>
        <a:p>
          <a:r>
            <a:rPr lang="en-US" sz="2200" b="1" u="sng" dirty="0"/>
            <a:t>Urgent</a:t>
          </a:r>
          <a:r>
            <a:rPr lang="en-US" sz="2200" dirty="0"/>
            <a:t> has been defined as requiring an investigation that is essential to inform </a:t>
          </a:r>
          <a:r>
            <a:rPr lang="en-US" sz="2200" b="1" dirty="0"/>
            <a:t>short-term treatment </a:t>
          </a:r>
          <a:r>
            <a:rPr lang="en-US" sz="2200" dirty="0"/>
            <a:t>which cannot be determined or safely administered without the investigation(s) </a:t>
          </a:r>
          <a:r>
            <a:rPr lang="en-US" sz="2200" dirty="0" err="1"/>
            <a:t>eg</a:t>
          </a:r>
          <a:r>
            <a:rPr lang="en-US" sz="2200" dirty="0"/>
            <a:t> </a:t>
          </a:r>
          <a:r>
            <a:rPr lang="en-US" sz="2200" b="1" dirty="0"/>
            <a:t>3-4 days</a:t>
          </a:r>
        </a:p>
      </dgm:t>
    </dgm:pt>
    <dgm:pt modelId="{38EC1C6F-4478-445D-8FB9-A5E0E244243A}" type="parTrans" cxnId="{061B4DFF-6277-4C2E-9798-EAA00DCD8574}">
      <dgm:prSet/>
      <dgm:spPr/>
      <dgm:t>
        <a:bodyPr/>
        <a:lstStyle/>
        <a:p>
          <a:endParaRPr lang="en-GB"/>
        </a:p>
      </dgm:t>
    </dgm:pt>
    <dgm:pt modelId="{0DDC021A-A2BE-4F9B-A0E4-F124E2FD5113}" type="sibTrans" cxnId="{061B4DFF-6277-4C2E-9798-EAA00DCD8574}">
      <dgm:prSet/>
      <dgm:spPr/>
      <dgm:t>
        <a:bodyPr/>
        <a:lstStyle/>
        <a:p>
          <a:endParaRPr lang="en-GB"/>
        </a:p>
      </dgm:t>
    </dgm:pt>
    <dgm:pt modelId="{6AB5438D-6212-40F5-A92C-747B51233A9C}" type="pres">
      <dgm:prSet presAssocID="{D721B2F5-4DBA-43CF-9FBB-5201C4B61463}" presName="linear" presStyleCnt="0">
        <dgm:presLayoutVars>
          <dgm:animLvl val="lvl"/>
          <dgm:resizeHandles val="exact"/>
        </dgm:presLayoutVars>
      </dgm:prSet>
      <dgm:spPr/>
    </dgm:pt>
    <dgm:pt modelId="{B5D6B990-232D-4620-B282-1F4FF4BFC2CB}" type="pres">
      <dgm:prSet presAssocID="{DA49B850-9C74-4EA6-839E-82EBBDC47CD0}" presName="parentText" presStyleLbl="node1" presStyleIdx="0" presStyleCnt="4" custLinFactY="-13660" custLinFactNeighborX="-799" custLinFactNeighborY="-100000">
        <dgm:presLayoutVars>
          <dgm:chMax val="0"/>
          <dgm:bulletEnabled val="1"/>
        </dgm:presLayoutVars>
      </dgm:prSet>
      <dgm:spPr/>
    </dgm:pt>
    <dgm:pt modelId="{70127E9C-E3AB-4277-8508-E867660840C3}" type="pres">
      <dgm:prSet presAssocID="{3E2E9167-4B42-441E-899E-5F2F8C922474}" presName="spacer" presStyleCnt="0"/>
      <dgm:spPr/>
    </dgm:pt>
    <dgm:pt modelId="{016AFBDD-B9BA-44DF-B8A3-78F1FB6EB91A}" type="pres">
      <dgm:prSet presAssocID="{835C55A7-421D-49EF-8925-11728AC9057F}" presName="parentText" presStyleLbl="node1" presStyleIdx="1" presStyleCnt="4" custLinFactY="1370" custLinFactNeighborY="100000">
        <dgm:presLayoutVars>
          <dgm:chMax val="0"/>
          <dgm:bulletEnabled val="1"/>
        </dgm:presLayoutVars>
      </dgm:prSet>
      <dgm:spPr/>
    </dgm:pt>
    <dgm:pt modelId="{6D553E0E-2BD5-45CC-95B5-3BAA2A6CEA94}" type="pres">
      <dgm:prSet presAssocID="{0DDC021A-A2BE-4F9B-A0E4-F124E2FD5113}" presName="spacer" presStyleCnt="0"/>
      <dgm:spPr/>
    </dgm:pt>
    <dgm:pt modelId="{F9E8117C-4B98-4642-86DF-2D0762BF9109}" type="pres">
      <dgm:prSet presAssocID="{EF327716-A7B2-45CC-B4D1-457C2A283AF4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27209EC6-F402-48F6-9897-6D0F219B22E4}" type="pres">
      <dgm:prSet presAssocID="{C457B74A-3626-47CF-9039-8DCD9F8363FC}" presName="spacer" presStyleCnt="0"/>
      <dgm:spPr/>
    </dgm:pt>
    <dgm:pt modelId="{11F616E1-39B5-4210-852C-44196F32FEEB}" type="pres">
      <dgm:prSet presAssocID="{A4406487-868F-4058-9A7D-242C249C8C39}" presName="parentText" presStyleLbl="node1" presStyleIdx="3" presStyleCnt="4" custLinFactY="6151" custLinFactNeighborY="100000">
        <dgm:presLayoutVars>
          <dgm:chMax val="0"/>
          <dgm:bulletEnabled val="1"/>
        </dgm:presLayoutVars>
      </dgm:prSet>
      <dgm:spPr/>
    </dgm:pt>
  </dgm:ptLst>
  <dgm:cxnLst>
    <dgm:cxn modelId="{62786421-B041-40C0-B1FA-BF47AE83CA23}" type="presOf" srcId="{D721B2F5-4DBA-43CF-9FBB-5201C4B61463}" destId="{6AB5438D-6212-40F5-A92C-747B51233A9C}" srcOrd="0" destOrd="0" presId="urn:microsoft.com/office/officeart/2005/8/layout/vList2"/>
    <dgm:cxn modelId="{DD728281-10FD-408A-B66F-41B6AA4E51D6}" type="presOf" srcId="{A4406487-868F-4058-9A7D-242C249C8C39}" destId="{11F616E1-39B5-4210-852C-44196F32FEEB}" srcOrd="0" destOrd="0" presId="urn:microsoft.com/office/officeart/2005/8/layout/vList2"/>
    <dgm:cxn modelId="{94C6F988-EF4E-4EB2-837B-0DB2CD53F616}" type="presOf" srcId="{EF327716-A7B2-45CC-B4D1-457C2A283AF4}" destId="{F9E8117C-4B98-4642-86DF-2D0762BF9109}" srcOrd="0" destOrd="0" presId="urn:microsoft.com/office/officeart/2005/8/layout/vList2"/>
    <dgm:cxn modelId="{BDBDC98C-088D-46C7-8A61-45EB932FD44D}" type="presOf" srcId="{835C55A7-421D-49EF-8925-11728AC9057F}" destId="{016AFBDD-B9BA-44DF-B8A3-78F1FB6EB91A}" srcOrd="0" destOrd="0" presId="urn:microsoft.com/office/officeart/2005/8/layout/vList2"/>
    <dgm:cxn modelId="{C3343599-11A5-4306-BF5D-A61F0921A227}" srcId="{D721B2F5-4DBA-43CF-9FBB-5201C4B61463}" destId="{A4406487-868F-4058-9A7D-242C249C8C39}" srcOrd="3" destOrd="0" parTransId="{07A4D2A1-9E08-4B8A-B22C-6C9B562173E4}" sibTransId="{9885043A-B258-4ED4-A9B0-82FB90C56E7A}"/>
    <dgm:cxn modelId="{1BA8C9C8-1A2B-4895-AA34-D68B6D1678D0}" srcId="{D721B2F5-4DBA-43CF-9FBB-5201C4B61463}" destId="{EF327716-A7B2-45CC-B4D1-457C2A283AF4}" srcOrd="2" destOrd="0" parTransId="{88554783-9EB1-46C0-B6E4-99EDB68661C6}" sibTransId="{C457B74A-3626-47CF-9039-8DCD9F8363FC}"/>
    <dgm:cxn modelId="{A0C1C6D8-6D50-49B6-9AE2-81051EE55AA2}" type="presOf" srcId="{DA49B850-9C74-4EA6-839E-82EBBDC47CD0}" destId="{B5D6B990-232D-4620-B282-1F4FF4BFC2CB}" srcOrd="0" destOrd="0" presId="urn:microsoft.com/office/officeart/2005/8/layout/vList2"/>
    <dgm:cxn modelId="{5E966BF1-97AE-45B7-B0C1-2EB0756C3B37}" srcId="{D721B2F5-4DBA-43CF-9FBB-5201C4B61463}" destId="{DA49B850-9C74-4EA6-839E-82EBBDC47CD0}" srcOrd="0" destOrd="0" parTransId="{FE829BF1-F74C-4555-A944-BEB4E5CB7C1C}" sibTransId="{3E2E9167-4B42-441E-899E-5F2F8C922474}"/>
    <dgm:cxn modelId="{061B4DFF-6277-4C2E-9798-EAA00DCD8574}" srcId="{D721B2F5-4DBA-43CF-9FBB-5201C4B61463}" destId="{835C55A7-421D-49EF-8925-11728AC9057F}" srcOrd="1" destOrd="0" parTransId="{38EC1C6F-4478-445D-8FB9-A5E0E244243A}" sibTransId="{0DDC021A-A2BE-4F9B-A0E4-F124E2FD5113}"/>
    <dgm:cxn modelId="{A70A1AFB-8A94-455B-96FC-2B04EAC5C189}" type="presParOf" srcId="{6AB5438D-6212-40F5-A92C-747B51233A9C}" destId="{B5D6B990-232D-4620-B282-1F4FF4BFC2CB}" srcOrd="0" destOrd="0" presId="urn:microsoft.com/office/officeart/2005/8/layout/vList2"/>
    <dgm:cxn modelId="{EDCE2FD5-5F73-4CD6-AACE-E14EEEE14CD0}" type="presParOf" srcId="{6AB5438D-6212-40F5-A92C-747B51233A9C}" destId="{70127E9C-E3AB-4277-8508-E867660840C3}" srcOrd="1" destOrd="0" presId="urn:microsoft.com/office/officeart/2005/8/layout/vList2"/>
    <dgm:cxn modelId="{A6E2A984-68B5-435E-B196-A3681FEE5D99}" type="presParOf" srcId="{6AB5438D-6212-40F5-A92C-747B51233A9C}" destId="{016AFBDD-B9BA-44DF-B8A3-78F1FB6EB91A}" srcOrd="2" destOrd="0" presId="urn:microsoft.com/office/officeart/2005/8/layout/vList2"/>
    <dgm:cxn modelId="{1172ACC8-D9D8-4D43-9C20-DB5DD1065B01}" type="presParOf" srcId="{6AB5438D-6212-40F5-A92C-747B51233A9C}" destId="{6D553E0E-2BD5-45CC-95B5-3BAA2A6CEA94}" srcOrd="3" destOrd="0" presId="urn:microsoft.com/office/officeart/2005/8/layout/vList2"/>
    <dgm:cxn modelId="{CA60694F-7A57-4A6A-8E2E-64F61D26498A}" type="presParOf" srcId="{6AB5438D-6212-40F5-A92C-747B51233A9C}" destId="{F9E8117C-4B98-4642-86DF-2D0762BF9109}" srcOrd="4" destOrd="0" presId="urn:microsoft.com/office/officeart/2005/8/layout/vList2"/>
    <dgm:cxn modelId="{CF10A57F-4F23-4A9B-A1D7-540DDD0024E7}" type="presParOf" srcId="{6AB5438D-6212-40F5-A92C-747B51233A9C}" destId="{27209EC6-F402-48F6-9897-6D0F219B22E4}" srcOrd="5" destOrd="0" presId="urn:microsoft.com/office/officeart/2005/8/layout/vList2"/>
    <dgm:cxn modelId="{D4DB8C28-E476-481F-B767-9F4C88341150}" type="presParOf" srcId="{6AB5438D-6212-40F5-A92C-747B51233A9C}" destId="{11F616E1-39B5-4210-852C-44196F32FEEB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D6B990-232D-4620-B282-1F4FF4BFC2CB}">
      <dsp:nvSpPr>
        <dsp:cNvPr id="0" name=""/>
        <dsp:cNvSpPr/>
      </dsp:nvSpPr>
      <dsp:spPr>
        <a:xfrm>
          <a:off x="0" y="0"/>
          <a:ext cx="7635101" cy="1415608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u="sng" kern="1200"/>
            <a:t>Critical</a:t>
          </a:r>
          <a:r>
            <a:rPr lang="en-US" sz="2200" kern="1200"/>
            <a:t> has been defined as requiring an investigation that is critical to inform </a:t>
          </a:r>
          <a:r>
            <a:rPr lang="en-US" sz="2200" b="1" kern="1200"/>
            <a:t>immediate required treatm</a:t>
          </a:r>
          <a:r>
            <a:rPr lang="en-US" sz="2200" kern="1200"/>
            <a:t>ent which cannot be determined without the investigation(s) e.g. </a:t>
          </a:r>
          <a:r>
            <a:rPr lang="en-US" sz="2200" b="1" kern="1200"/>
            <a:t>within 0-24 hours</a:t>
          </a:r>
          <a:r>
            <a:rPr lang="en-US" sz="2200" kern="1200"/>
            <a:t>.  </a:t>
          </a:r>
        </a:p>
      </dsp:txBody>
      <dsp:txXfrm>
        <a:off x="69104" y="69104"/>
        <a:ext cx="7496893" cy="1277400"/>
      </dsp:txXfrm>
    </dsp:sp>
    <dsp:sp modelId="{016AFBDD-B9BA-44DF-B8A3-78F1FB6EB91A}">
      <dsp:nvSpPr>
        <dsp:cNvPr id="0" name=""/>
        <dsp:cNvSpPr/>
      </dsp:nvSpPr>
      <dsp:spPr>
        <a:xfrm>
          <a:off x="0" y="1461674"/>
          <a:ext cx="7635101" cy="1415608"/>
        </a:xfrm>
        <a:prstGeom prst="roundRect">
          <a:avLst/>
        </a:prstGeom>
        <a:gradFill rotWithShape="0">
          <a:gsLst>
            <a:gs pos="0">
              <a:schemeClr val="accent2">
                <a:hueOff val="-485121"/>
                <a:satOff val="-27976"/>
                <a:lumOff val="2876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485121"/>
                <a:satOff val="-27976"/>
                <a:lumOff val="2876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485121"/>
                <a:satOff val="-27976"/>
                <a:lumOff val="2876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u="sng" kern="1200" dirty="0"/>
            <a:t>Urgent</a:t>
          </a:r>
          <a:r>
            <a:rPr lang="en-US" sz="2200" kern="1200" dirty="0"/>
            <a:t> has been defined as requiring an investigation that is essential to inform </a:t>
          </a:r>
          <a:r>
            <a:rPr lang="en-US" sz="2200" b="1" kern="1200" dirty="0"/>
            <a:t>short-term treatment </a:t>
          </a:r>
          <a:r>
            <a:rPr lang="en-US" sz="2200" kern="1200" dirty="0"/>
            <a:t>which cannot be determined or safely administered without the investigation(s) </a:t>
          </a:r>
          <a:r>
            <a:rPr lang="en-US" sz="2200" kern="1200" dirty="0" err="1"/>
            <a:t>eg</a:t>
          </a:r>
          <a:r>
            <a:rPr lang="en-US" sz="2200" kern="1200" dirty="0"/>
            <a:t> </a:t>
          </a:r>
          <a:r>
            <a:rPr lang="en-US" sz="2200" b="1" kern="1200" dirty="0"/>
            <a:t>3-4 days</a:t>
          </a:r>
        </a:p>
      </dsp:txBody>
      <dsp:txXfrm>
        <a:off x="69104" y="1530778"/>
        <a:ext cx="7496893" cy="1277400"/>
      </dsp:txXfrm>
    </dsp:sp>
    <dsp:sp modelId="{F9E8117C-4B98-4642-86DF-2D0762BF9109}">
      <dsp:nvSpPr>
        <dsp:cNvPr id="0" name=""/>
        <dsp:cNvSpPr/>
      </dsp:nvSpPr>
      <dsp:spPr>
        <a:xfrm>
          <a:off x="0" y="2857888"/>
          <a:ext cx="7635101" cy="1415608"/>
        </a:xfrm>
        <a:prstGeom prst="roundRect">
          <a:avLst/>
        </a:prstGeom>
        <a:gradFill rotWithShape="0">
          <a:gsLst>
            <a:gs pos="0">
              <a:schemeClr val="accent2">
                <a:hueOff val="-970242"/>
                <a:satOff val="-55952"/>
                <a:lumOff val="575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970242"/>
                <a:satOff val="-55952"/>
                <a:lumOff val="575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970242"/>
                <a:satOff val="-55952"/>
                <a:lumOff val="575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u="sng" kern="1200" dirty="0"/>
            <a:t>Important</a:t>
          </a:r>
          <a:r>
            <a:rPr lang="en-US" sz="2200" kern="1200" dirty="0"/>
            <a:t> has been defined as required for safe clinical management e.g. </a:t>
          </a:r>
          <a:r>
            <a:rPr lang="en-US" sz="2200" b="1" kern="1200" dirty="0"/>
            <a:t>within 1 week </a:t>
          </a:r>
        </a:p>
      </dsp:txBody>
      <dsp:txXfrm>
        <a:off x="69104" y="2926992"/>
        <a:ext cx="7496893" cy="1277400"/>
      </dsp:txXfrm>
    </dsp:sp>
    <dsp:sp modelId="{11F616E1-39B5-4210-852C-44196F32FEEB}">
      <dsp:nvSpPr>
        <dsp:cNvPr id="0" name=""/>
        <dsp:cNvSpPr/>
      </dsp:nvSpPr>
      <dsp:spPr>
        <a:xfrm>
          <a:off x="0" y="4287358"/>
          <a:ext cx="7635101" cy="1415608"/>
        </a:xfrm>
        <a:prstGeom prst="roundRect">
          <a:avLst/>
        </a:prstGeom>
        <a:gradFill rotWithShape="0">
          <a:gsLst>
            <a:gs pos="0">
              <a:schemeClr val="accent2">
                <a:hueOff val="-1455363"/>
                <a:satOff val="-83928"/>
                <a:lumOff val="862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1455363"/>
                <a:satOff val="-83928"/>
                <a:lumOff val="862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1455363"/>
                <a:satOff val="-83928"/>
                <a:lumOff val="862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u="sng" kern="1200" dirty="0"/>
            <a:t>Routine</a:t>
          </a:r>
          <a:r>
            <a:rPr lang="en-US" sz="2200" b="1" kern="1200" dirty="0"/>
            <a:t> </a:t>
          </a:r>
          <a:r>
            <a:rPr lang="en-US" sz="2200" kern="1200" dirty="0"/>
            <a:t>has been defined as required for appropriate </a:t>
          </a:r>
          <a:r>
            <a:rPr lang="en-US" sz="2200" b="1" kern="1200" dirty="0"/>
            <a:t>ongoing</a:t>
          </a:r>
          <a:r>
            <a:rPr lang="en-US" sz="2200" kern="1200" dirty="0"/>
            <a:t> clinical management but can be reasonably deferred e.g. within </a:t>
          </a:r>
          <a:r>
            <a:rPr lang="en-US" sz="2200" b="1" u="none" kern="1200" dirty="0"/>
            <a:t>1- 3 months</a:t>
          </a:r>
          <a:r>
            <a:rPr lang="en-US" sz="2200" kern="1200" dirty="0"/>
            <a:t>.</a:t>
          </a:r>
        </a:p>
      </dsp:txBody>
      <dsp:txXfrm>
        <a:off x="69104" y="4356462"/>
        <a:ext cx="7496893" cy="12774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9C42391-6816-88C2-77C1-C6FC55A21F0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810270-35DC-0CDA-775C-5AA2BF9EE93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70F35C-A12D-4C42-917B-F272DA9AC7E5}" type="datetimeFigureOut">
              <a:rPr lang="en-GB" smtClean="0"/>
              <a:t>21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93DC83-F3C4-D475-3B0C-FBD34A1A634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232B35-BAA5-1CEA-65F1-7E162313BB2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D7E0AB-144E-4AD4-AB7C-6B6FEAACB14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178955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C6C2909-A1D4-9941-6C5D-11CB25560CA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12F19-6492-DA47-953D-143B592A786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E6E06791-CDBF-A647-8444-DF777B63999E}" type="datetimeFigureOut">
              <a:rPr lang="en-US"/>
              <a:pPr>
                <a:defRPr/>
              </a:pPr>
              <a:t>6/21/2024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E6C2EAD5-306E-5D6B-3A8C-A7EBFA142B0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8FADCA2-986A-8495-B1A1-055029DE9D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455A8D-F194-1CEF-E639-BFD13897CF7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768ED3-560E-1E75-C627-0F6EDF1640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B06726BC-5D2B-5E4B-962F-582EB5C042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86219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6142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98272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95078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44089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73281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44633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51071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57195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10100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7677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6C5E6E-A3B5-28F6-5467-664224D6723F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0AB8EA-4C1B-8073-90A1-AD8D430842B0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872DB006-DED8-B3A4-0A02-7E4926391128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656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footer sectio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4038FD0-2570-F82C-50C4-C27E118E5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DD4F447-8CA9-33BE-E377-5978DF6D4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563400"/>
            <a:ext cx="79940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BEC0D80-ACF4-7430-3072-19DF10A247CE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34AFB1C-29CD-EE37-0F27-4494966F87D7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CA2D7B74-282B-194E-0ED8-4C71716DF75F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9025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footer section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4038FD0-2570-F82C-50C4-C27E118E5F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4038FD0-2570-F82C-50C4-C27E118E5F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B458B4A-1704-7FAA-2888-97123A65B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718D453-6C57-8EC0-16EC-5EFF8D99BCAA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9D25133-DCA6-2ABC-7DB5-76855BF59194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BD90D56-76BE-4F7A-4603-AF9A76AC10CC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3901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tatement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204378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FDB2D23-034C-04DF-F0B8-35C8FC0CA860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A9DFDF-C584-E267-00FE-04B3DAF20817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82DAF798-BB59-22A2-3DDD-F643634B4150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1283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tatement blu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411412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1F60915-5A9C-9538-BDEF-B194B6AAA1A8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012283-4C26-CF27-7E58-30DD0589316A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7D4C270-0891-646C-B879-87908F440F27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678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statement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204378" y="2918572"/>
            <a:ext cx="7369175" cy="7255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60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FEA6016-817E-0DBA-9DBD-AAF3167A0A23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35810A-E7BD-AFD0-E408-348D0BF08767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B04377B0-00CF-5B3F-0C1E-65DB58846F60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8258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ue OHSEL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39BBE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FB090E-9611-6925-01EE-D6209A003E33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344032B-FE5E-9C55-F32A-99AE2E54A0BC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D613C4FB-4822-22B8-E305-4CFD30283FA3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05833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D6DB55B-A613-D024-7343-93B00B10F84B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E5EBD95-027C-8159-D819-6DEB9FA2CE35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E763463-3BAA-29DA-A582-2A02877FA635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977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hit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458788" y="2660520"/>
            <a:ext cx="9426575" cy="148117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458788" y="4237188"/>
            <a:ext cx="7959725" cy="4838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F1412AA-C8C3-0432-1E61-C819267C0A67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30E901-C0C7-4FA5-69EA-11B1CD5583A2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9AA3706C-C5FA-31BC-6A5B-AE0C4F53F1A7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372183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94F00F9-FD56-EDDE-6984-E141C4954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563400"/>
            <a:ext cx="7994029" cy="662782"/>
          </a:xfrm>
          <a:prstGeom prst="rect">
            <a:avLst/>
          </a:prstGeom>
        </p:spPr>
        <p:txBody>
          <a:bodyPr vert="horz" anchor="ctr"/>
          <a:lstStyle>
            <a:lvl1pPr algn="l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476B64B-D927-006D-2EEF-F0B52B7F6CFA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97EB59-C5B7-01F8-F9CA-8EE21F1C95EF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5EBAB6C-AB16-7663-829B-C94952B7DA3F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3467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A30205A-CB70-50C1-E147-5EAE15B0D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7446CBE-126E-800C-E5E5-FD0DD2E066EC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BE7BB5A-BDAD-78BF-EC62-FC31AE7D9EE4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D45EBBEB-B316-5734-87ED-43B0290E3925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0341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D7DDF92-55D2-78E4-26D7-7AA8751BE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FC4758F-B40E-0217-624A-3B5C92353765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74F3BAB-F7AF-FEA3-D8F1-37EF359E3740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53CF9980-576A-4D43-3FA9-7CDAE7A78383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9192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B72277B-7A2D-22ED-C8AB-644257FA0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B702D18-87A3-B504-A14A-C13785EB6489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99520C-19A2-D0B3-046A-929448DAA6CF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B17F740-BE4A-4AB6-C8DB-F30AF3319D06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15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7ED7ED4D-AF16-1E82-D9C6-C8D27C639E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7ED7ED4D-AF16-1E82-D9C6-C8D27C639E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sz="quarter" idx="14"/>
          </p:nvPr>
        </p:nvSpPr>
        <p:spPr>
          <a:xfrm>
            <a:off x="354013" y="1389063"/>
            <a:ext cx="11326153" cy="48990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61E7A0A-806F-0072-E9CF-DB48F2F60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6" y="585434"/>
            <a:ext cx="7524521" cy="662782"/>
          </a:xfrm>
          <a:prstGeom prst="rect">
            <a:avLst/>
          </a:prstGeom>
        </p:spPr>
        <p:txBody>
          <a:bodyPr vert="horz" anchor="ctr"/>
          <a:lstStyle>
            <a:lvl1pPr algn="ctr">
              <a:defRPr sz="2800" b="1">
                <a:solidFill>
                  <a:srgbClr val="013C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08CAF1E-D7AA-58D0-92DB-2143E324ACFA}"/>
              </a:ext>
            </a:extLst>
          </p:cNvPr>
          <p:cNvSpPr/>
          <p:nvPr userDrawn="1"/>
        </p:nvSpPr>
        <p:spPr>
          <a:xfrm>
            <a:off x="0" y="6391656"/>
            <a:ext cx="12192000" cy="46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830A70-0A58-54BF-4749-DF66557CBFB8}"/>
              </a:ext>
            </a:extLst>
          </p:cNvPr>
          <p:cNvSpPr txBox="1"/>
          <p:nvPr userDrawn="1"/>
        </p:nvSpPr>
        <p:spPr>
          <a:xfrm>
            <a:off x="1524443" y="6468031"/>
            <a:ext cx="91431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2865755" algn="ctr"/>
                <a:tab pos="5731510" algn="r"/>
              </a:tabLst>
            </a:pP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e are </a:t>
            </a:r>
            <a:r>
              <a:rPr lang="en-GB" sz="1800" b="1">
                <a:solidFill>
                  <a:srgbClr val="70AD47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ollaborat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BF9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aring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C55A1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clusive</a:t>
            </a:r>
            <a:r>
              <a:rPr lang="en-GB" sz="1800" b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 •  We are </a:t>
            </a:r>
            <a:r>
              <a:rPr lang="en-GB" sz="1800" b="1">
                <a:solidFill>
                  <a:srgbClr val="4472C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novative</a:t>
            </a:r>
            <a:endParaRPr lang="en-GB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BD184735-877E-7480-EA1A-719608F97138}"/>
              </a:ext>
            </a:extLst>
          </p:cNvPr>
          <p:cNvSpPr txBox="1">
            <a:spLocks/>
          </p:cNvSpPr>
          <p:nvPr userDrawn="1"/>
        </p:nvSpPr>
        <p:spPr>
          <a:xfrm>
            <a:off x="10161588" y="6472238"/>
            <a:ext cx="169545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C23DAE3-29EA-6B48-8B9F-DAC09DE37D5A}" type="slidenum">
              <a:rPr lang="en-US" smtClean="0"/>
              <a:pPr algn="r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040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68FF4BEC-E65A-6F08-D64C-F02B55D18DD7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8100" imgH="38100" progId="TCLayout.ActiveDocument.1">
                  <p:embed/>
                </p:oleObj>
              </mc:Choice>
              <mc:Fallback>
                <p:oleObj name="think-cell Slide" r:id="rId17" imgW="38100" imgH="3810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68FF4BEC-E65A-6F08-D64C-F02B55D18D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93" r:id="rId6"/>
    <p:sldLayoutId id="2147483695" r:id="rId7"/>
    <p:sldLayoutId id="2147483694" r:id="rId8"/>
    <p:sldLayoutId id="2147483696" r:id="rId9"/>
    <p:sldLayoutId id="2147483689" r:id="rId10"/>
    <p:sldLayoutId id="2147483692" r:id="rId11"/>
    <p:sldLayoutId id="2147483690" r:id="rId12"/>
    <p:sldLayoutId id="2147483691" r:id="rId13"/>
    <p:sldLayoutId id="2147483716" r:id="rId14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shl.uk/" TargetMode="External"/><Relationship Id="rId5" Type="http://schemas.openxmlformats.org/officeDocument/2006/relationships/hyperlink" Target="https://www.nhs.uk/service-search/sexual-health/find-a-sexual-health-clinic/" TargetMode="External"/><Relationship Id="rId4" Type="http://schemas.openxmlformats.org/officeDocument/2006/relationships/hyperlink" Target="https://www.rcog.org.uk/for-the-public/browse-our-patient-information/acute-pelvic-inflammatory-disease-pid-tests-and-treatment/#:~:text=What%20is%20%27acute%27%20pelvic%20inflammatory,fertility%20problems%20in%20the%20future.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cks.nice.org.uk/topics/prostate-cancer/#:~:text=Risk%20factors%20for%20developing%20prostate,Family%20history%20of%20prostate%20cancer." TargetMode="External"/><Relationship Id="rId2" Type="http://schemas.openxmlformats.org/officeDocument/2006/relationships/hyperlink" Target="https://www.nice.org.uk/guidance/ng12/chapter/Recommendations-organised-by-site-of-cancer#urological-cancers" TargetMode="External"/><Relationship Id="rId1" Type="http://schemas.openxmlformats.org/officeDocument/2006/relationships/slideLayout" Target="../slideLayouts/slideLayout9.xml"/><Relationship Id="rId4" Type="http://schemas.openxmlformats.org/officeDocument/2006/relationships/slide" Target="slide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ynnovis.co.uk/customer-service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9.xml"/><Relationship Id="rId13" Type="http://schemas.openxmlformats.org/officeDocument/2006/relationships/slide" Target="slide15.xml"/><Relationship Id="rId3" Type="http://schemas.openxmlformats.org/officeDocument/2006/relationships/slide" Target="slide4.xml"/><Relationship Id="rId7" Type="http://schemas.openxmlformats.org/officeDocument/2006/relationships/slide" Target="slide8.xml"/><Relationship Id="rId12" Type="http://schemas.openxmlformats.org/officeDocument/2006/relationships/slide" Target="slide14.xml"/><Relationship Id="rId2" Type="http://schemas.openxmlformats.org/officeDocument/2006/relationships/slide" Target="slide3.xml"/><Relationship Id="rId1" Type="http://schemas.openxmlformats.org/officeDocument/2006/relationships/slideLayout" Target="../slideLayouts/slideLayout8.xml"/><Relationship Id="rId6" Type="http://schemas.openxmlformats.org/officeDocument/2006/relationships/slide" Target="slide7.xml"/><Relationship Id="rId11" Type="http://schemas.openxmlformats.org/officeDocument/2006/relationships/slide" Target="slide13.xml"/><Relationship Id="rId5" Type="http://schemas.openxmlformats.org/officeDocument/2006/relationships/slide" Target="slide6.xml"/><Relationship Id="rId15" Type="http://schemas.openxmlformats.org/officeDocument/2006/relationships/slide" Target="slide18.xml"/><Relationship Id="rId10" Type="http://schemas.openxmlformats.org/officeDocument/2006/relationships/slide" Target="slide11.xml"/><Relationship Id="rId4" Type="http://schemas.openxmlformats.org/officeDocument/2006/relationships/slide" Target="slide5.xml"/><Relationship Id="rId9" Type="http://schemas.openxmlformats.org/officeDocument/2006/relationships/slide" Target="slide10.xml"/><Relationship Id="rId14" Type="http://schemas.openxmlformats.org/officeDocument/2006/relationships/slide" Target="slide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elondonics.org/icb/healthcare-professionals/synnovis-cyber-attack/" TargetMode="Externa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s://www.rcpath.org/static/253e8950-3721-4aa2-8ddd4bd94f73040e/g147_national-minimum_retesting_intervals_in_pathology.pdf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slide" Target="slide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ukkidney.org/sites/renal.org/files/FINAL%20VERSION%20-%20UKKA%20CLINICAL%20PRACTICE%20GUIDELINE%20-%20MANAGEMENT%20OF%20HYPERKALAEMIA%20IN%20ADULTS%20-%20191223.pdf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B3E8CCC-A56B-800E-9503-793AB239CC6B}"/>
              </a:ext>
            </a:extLst>
          </p:cNvPr>
          <p:cNvSpPr txBox="1">
            <a:spLocks/>
          </p:cNvSpPr>
          <p:nvPr/>
        </p:nvSpPr>
        <p:spPr>
          <a:xfrm>
            <a:off x="1524003" y="1999615"/>
            <a:ext cx="9144000" cy="2764028"/>
          </a:xfrm>
        </p:spPr>
        <p:txBody>
          <a:bodyPr anchor="ctr"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endParaRPr lang="en-GB" sz="72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ECFDA6-7380-A731-4DFC-33E7A455E6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23997" y="1960773"/>
            <a:ext cx="9426575" cy="1481174"/>
          </a:xfrm>
        </p:spPr>
        <p:txBody>
          <a:bodyPr>
            <a:normAutofit/>
          </a:bodyPr>
          <a:lstStyle/>
          <a:p>
            <a:pPr algn="ctr"/>
            <a:r>
              <a:rPr lang="en-GB" sz="4800" dirty="0">
                <a:latin typeface="+mn-lt"/>
              </a:rPr>
              <a:t>Primary Care </a:t>
            </a:r>
            <a:r>
              <a:rPr lang="en-GB" dirty="0">
                <a:latin typeface="+mn-lt"/>
              </a:rPr>
              <a:t>P</a:t>
            </a:r>
            <a:r>
              <a:rPr lang="en-GB" sz="4800" dirty="0">
                <a:latin typeface="+mn-lt"/>
              </a:rPr>
              <a:t>athology Prioritisation</a:t>
            </a:r>
            <a:r>
              <a:rPr lang="en-GB" dirty="0">
                <a:latin typeface="+mn-lt"/>
              </a:rPr>
              <a:t> Guidance </a:t>
            </a:r>
            <a:endParaRPr lang="en-GB" sz="4800" dirty="0">
              <a:latin typeface="+mn-lt"/>
            </a:endParaRPr>
          </a:p>
          <a:p>
            <a:pPr algn="ctr"/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532D65D-C5C4-337E-9026-8468FFFF11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34347" y="3403105"/>
            <a:ext cx="2983832" cy="802453"/>
          </a:xfrm>
        </p:spPr>
        <p:txBody>
          <a:bodyPr>
            <a:normAutofit fontScale="32500" lnSpcReduction="20000"/>
          </a:bodyPr>
          <a:lstStyle/>
          <a:p>
            <a:endParaRPr lang="en-GB" sz="2000" b="1" dirty="0"/>
          </a:p>
          <a:p>
            <a:pPr algn="ctr"/>
            <a:r>
              <a:rPr lang="en-GB" sz="6600" b="1" dirty="0">
                <a:latin typeface="+mn-lt"/>
              </a:rPr>
              <a:t>Updated 21 June 2024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B45FA894-CE0B-3F73-45C3-14BD768F21C4}"/>
              </a:ext>
            </a:extLst>
          </p:cNvPr>
          <p:cNvSpPr txBox="1">
            <a:spLocks/>
          </p:cNvSpPr>
          <p:nvPr/>
        </p:nvSpPr>
        <p:spPr>
          <a:xfrm>
            <a:off x="4334347" y="4231453"/>
            <a:ext cx="2983832" cy="80245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b="1"/>
          </a:p>
        </p:txBody>
      </p:sp>
    </p:spTree>
    <p:extLst>
      <p:ext uri="{BB962C8B-B14F-4D97-AF65-F5344CB8AC3E}">
        <p14:creationId xmlns:p14="http://schemas.microsoft.com/office/powerpoint/2010/main" val="21210602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150CE7F4-B64E-8556-E694-849699455D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8434077"/>
              </p:ext>
            </p:extLst>
          </p:nvPr>
        </p:nvGraphicFramePr>
        <p:xfrm>
          <a:off x="1358872" y="1158844"/>
          <a:ext cx="9460019" cy="22905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25880">
                  <a:extLst>
                    <a:ext uri="{9D8B030D-6E8A-4147-A177-3AD203B41FA5}">
                      <a16:colId xmlns:a16="http://schemas.microsoft.com/office/drawing/2014/main" val="2623452063"/>
                    </a:ext>
                  </a:extLst>
                </a:gridCol>
                <a:gridCol w="4934139">
                  <a:extLst>
                    <a:ext uri="{9D8B030D-6E8A-4147-A177-3AD203B41FA5}">
                      <a16:colId xmlns:a16="http://schemas.microsoft.com/office/drawing/2014/main" val="4062269637"/>
                    </a:ext>
                  </a:extLst>
                </a:gridCol>
              </a:tblGrid>
              <a:tr h="443622">
                <a:tc gridSpan="2">
                  <a:txBody>
                    <a:bodyPr/>
                    <a:lstStyle/>
                    <a:p>
                      <a:pPr algn="ctr"/>
                      <a:r>
                        <a:rPr lang="en-GB" dirty="0"/>
                        <a:t>Liver function tests</a:t>
                      </a:r>
                      <a:endParaRPr lang="en-GB" dirty="0">
                        <a:solidFill>
                          <a:srgbClr val="7030A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2620085"/>
                  </a:ext>
                </a:extLst>
              </a:tr>
              <a:tr h="372098">
                <a:tc>
                  <a:txBody>
                    <a:bodyPr/>
                    <a:lstStyle/>
                    <a:p>
                      <a:pPr algn="ctr"/>
                      <a:r>
                        <a:rPr lang="en-GB" b="1">
                          <a:solidFill>
                            <a:schemeClr val="bg1"/>
                          </a:solidFill>
                        </a:rPr>
                        <a:t>Urgent/Important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>
                          <a:solidFill>
                            <a:schemeClr val="bg1"/>
                          </a:solidFill>
                        </a:rPr>
                        <a:t>Routine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8803965"/>
                  </a:ext>
                </a:extLst>
              </a:tr>
              <a:tr h="147480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ute jaundic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sible liver failure e.g. ascites</a:t>
                      </a:r>
                    </a:p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t of routine LTC reviews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t introduction of statin* – consider delaying start of medication so liver profile at 6 weeks can also be delay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nitoring of long-term liver conditions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4808995"/>
                  </a:ext>
                </a:extLst>
              </a:tr>
            </a:tbl>
          </a:graphicData>
        </a:graphic>
      </p:graphicFrame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E513974C-4068-5F09-EB63-5C8D48E751B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82086931"/>
              </p:ext>
            </p:extLst>
          </p:nvPr>
        </p:nvGraphicFramePr>
        <p:xfrm>
          <a:off x="1351752" y="3591930"/>
          <a:ext cx="9474257" cy="22948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9867">
                  <a:extLst>
                    <a:ext uri="{9D8B030D-6E8A-4147-A177-3AD203B41FA5}">
                      <a16:colId xmlns:a16="http://schemas.microsoft.com/office/drawing/2014/main" val="2623452063"/>
                    </a:ext>
                  </a:extLst>
                </a:gridCol>
                <a:gridCol w="4934390">
                  <a:extLst>
                    <a:ext uri="{9D8B030D-6E8A-4147-A177-3AD203B41FA5}">
                      <a16:colId xmlns:a16="http://schemas.microsoft.com/office/drawing/2014/main" val="4062269637"/>
                    </a:ext>
                  </a:extLst>
                </a:gridCol>
              </a:tblGrid>
              <a:tr h="364332">
                <a:tc gridSpan="2">
                  <a:txBody>
                    <a:bodyPr/>
                    <a:lstStyle/>
                    <a:p>
                      <a:pPr algn="ctr"/>
                      <a:r>
                        <a:rPr lang="en-GB"/>
                        <a:t>Full blood coun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2620085"/>
                  </a:ext>
                </a:extLst>
              </a:tr>
              <a:tr h="378920">
                <a:tc>
                  <a:txBody>
                    <a:bodyPr/>
                    <a:lstStyle/>
                    <a:p>
                      <a:pPr algn="ctr"/>
                      <a:r>
                        <a:rPr lang="en-GB" b="1">
                          <a:solidFill>
                            <a:schemeClr val="bg1"/>
                          </a:solidFill>
                        </a:rPr>
                        <a:t>Urgent/Important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>
                          <a:solidFill>
                            <a:schemeClr val="bg1"/>
                          </a:solidFill>
                        </a:rPr>
                        <a:t>Routine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8803965"/>
                  </a:ext>
                </a:extLst>
              </a:tr>
              <a:tr h="1550155"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gh risk anaemia e.g. severe menorrhagia, severe haemorrhoids, melaena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sible haematological malignanc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sible ITP – discuss with Haematology on-call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 exclude anaemia in lower risk clinical scenario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nitoring/follow up of platelet count over 100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480899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8F65E66-AB39-B235-11C6-56196962E4CC}"/>
              </a:ext>
            </a:extLst>
          </p:cNvPr>
          <p:cNvSpPr txBox="1"/>
          <p:nvPr/>
        </p:nvSpPr>
        <p:spPr>
          <a:xfrm>
            <a:off x="222192" y="6029324"/>
            <a:ext cx="1173337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300" b="1" kern="1200" dirty="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rPr>
              <a:t>*Please refer to the </a:t>
            </a:r>
            <a:r>
              <a:rPr lang="en-US" sz="1300" b="1" dirty="0">
                <a:solidFill>
                  <a:schemeClr val="tx1"/>
                </a:solidFill>
                <a:latin typeface="+mn-lt"/>
                <a:cs typeface="Times New Roman"/>
              </a:rPr>
              <a:t>SEL Medicines </a:t>
            </a:r>
            <a:r>
              <a:rPr lang="en-US" sz="1300" b="1" dirty="0" err="1">
                <a:solidFill>
                  <a:schemeClr val="tx1"/>
                </a:solidFill>
                <a:latin typeface="+mn-lt"/>
                <a:cs typeface="Times New Roman"/>
              </a:rPr>
              <a:t>Optimisation</a:t>
            </a:r>
            <a:r>
              <a:rPr lang="en-US" sz="1300" b="1" dirty="0">
                <a:solidFill>
                  <a:schemeClr val="tx1"/>
                </a:solidFill>
                <a:latin typeface="+mn-lt"/>
                <a:cs typeface="Times New Roman"/>
              </a:rPr>
              <a:t> Team’s recommendations on monitoring medications used in long-term conditions</a:t>
            </a:r>
            <a:r>
              <a:rPr lang="en-US" sz="1300" b="1" dirty="0">
                <a:latin typeface="+mn-lt"/>
                <a:cs typeface="Times New Roman"/>
              </a:rPr>
              <a:t> (to be published in the next 2 weeks</a:t>
            </a:r>
            <a:r>
              <a:rPr lang="en-US" sz="1400" b="1" dirty="0">
                <a:latin typeface="+mn-lt"/>
                <a:cs typeface="Times New Roman"/>
              </a:rPr>
              <a:t>)</a:t>
            </a:r>
            <a:endParaRPr lang="en-GB" sz="1400" b="1" dirty="0"/>
          </a:p>
        </p:txBody>
      </p:sp>
    </p:spTree>
    <p:extLst>
      <p:ext uri="{BB962C8B-B14F-4D97-AF65-F5344CB8AC3E}">
        <p14:creationId xmlns:p14="http://schemas.microsoft.com/office/powerpoint/2010/main" val="13578740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474591-C71C-CF0B-2EF0-DC10D252F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304" y="443554"/>
            <a:ext cx="7524521" cy="662782"/>
          </a:xfrm>
        </p:spPr>
        <p:txBody>
          <a:bodyPr/>
          <a:lstStyle/>
          <a:p>
            <a:r>
              <a:rPr lang="en-GB">
                <a:latin typeface="+mn-lt"/>
              </a:rPr>
              <a:t>Other tests 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709D8BB-AF9A-ADEF-8F9C-D14B797915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4656880"/>
              </p:ext>
            </p:extLst>
          </p:nvPr>
        </p:nvGraphicFramePr>
        <p:xfrm>
          <a:off x="838201" y="1155959"/>
          <a:ext cx="10515597" cy="45658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207">
                  <a:extLst>
                    <a:ext uri="{9D8B030D-6E8A-4147-A177-3AD203B41FA5}">
                      <a16:colId xmlns:a16="http://schemas.microsoft.com/office/drawing/2014/main" val="688233513"/>
                    </a:ext>
                  </a:extLst>
                </a:gridCol>
                <a:gridCol w="3992578">
                  <a:extLst>
                    <a:ext uri="{9D8B030D-6E8A-4147-A177-3AD203B41FA5}">
                      <a16:colId xmlns:a16="http://schemas.microsoft.com/office/drawing/2014/main" val="1628559828"/>
                    </a:ext>
                  </a:extLst>
                </a:gridCol>
                <a:gridCol w="4074812">
                  <a:extLst>
                    <a:ext uri="{9D8B030D-6E8A-4147-A177-3AD203B41FA5}">
                      <a16:colId xmlns:a16="http://schemas.microsoft.com/office/drawing/2014/main" val="1541640082"/>
                    </a:ext>
                  </a:extLst>
                </a:gridCol>
              </a:tblGrid>
              <a:tr h="399196">
                <a:tc>
                  <a:txBody>
                    <a:bodyPr/>
                    <a:lstStyle/>
                    <a:p>
                      <a:pPr algn="ctr"/>
                      <a:endParaRPr lang="en-GB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Urgent/Important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Routine*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7461387"/>
                  </a:ext>
                </a:extLst>
              </a:tr>
              <a:tr h="918373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U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ke a clinical diagnosis of acute gout and treat accordingly</a:t>
                      </a:r>
                    </a:p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nitoring of effectiveness of allopurinol - delay</a:t>
                      </a:r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3338296"/>
                  </a:ext>
                </a:extLst>
              </a:tr>
              <a:tr h="1279618">
                <a:tc>
                  <a:txBody>
                    <a:bodyPr/>
                    <a:lstStyle/>
                    <a:p>
                      <a:pPr algn="ctr"/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rritin, iron studies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Severely deficient and symptomatic – consider urgent pathology pathway (repeat or if concerned, discuss with SDE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 MCV reduced recently (e.g. within last 3 months) or clinical signs/symptoms present, treat as iron deficiency </a:t>
                      </a:r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1387487"/>
                  </a:ext>
                </a:extLst>
              </a:tr>
              <a:tr h="984322">
                <a:tc>
                  <a:txBody>
                    <a:bodyPr/>
                    <a:lstStyle/>
                    <a:p>
                      <a:pPr algn="ctr"/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12, Folate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urologically symptomatic patient with possible severe B12 deficiency 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Post supplement checks e.g. B12 injections or oral supplements</a:t>
                      </a:r>
                    </a:p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9859406"/>
                  </a:ext>
                </a:extLst>
              </a:tr>
              <a:tr h="984322">
                <a:tc>
                  <a:txBody>
                    <a:bodyPr/>
                    <a:lstStyle/>
                    <a:p>
                      <a:pPr algn="ctr"/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-Dimer</a:t>
                      </a:r>
                      <a:endParaRPr lang="en-GB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fer to SDEC services if VTE considered and patient symptomati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72996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19F7B22C-E7C9-7240-0E16-2CCF9E11A366}"/>
              </a:ext>
            </a:extLst>
          </p:cNvPr>
          <p:cNvSpPr txBox="1"/>
          <p:nvPr/>
        </p:nvSpPr>
        <p:spPr>
          <a:xfrm>
            <a:off x="2362955" y="5910212"/>
            <a:ext cx="7630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*Record that a test is delayed using the Ardens </a:t>
            </a:r>
            <a:r>
              <a:rPr lang="en-GB" sz="16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‘</a:t>
            </a:r>
            <a:r>
              <a:rPr lang="en-GB" sz="1600" b="1" i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EL test delay protocol and template</a:t>
            </a:r>
            <a:r>
              <a:rPr lang="en-GB" sz="16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’</a:t>
            </a:r>
            <a:endParaRPr lang="en-GB" sz="1600" b="1" dirty="0">
              <a:solidFill>
                <a:srgbClr val="7030A0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95009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C04F80D5-55DF-2750-DA32-BA77ECCEA3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5172522"/>
              </p:ext>
            </p:extLst>
          </p:nvPr>
        </p:nvGraphicFramePr>
        <p:xfrm>
          <a:off x="534285" y="1290366"/>
          <a:ext cx="10823449" cy="46168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56588">
                  <a:extLst>
                    <a:ext uri="{9D8B030D-6E8A-4147-A177-3AD203B41FA5}">
                      <a16:colId xmlns:a16="http://schemas.microsoft.com/office/drawing/2014/main" val="1936907408"/>
                    </a:ext>
                  </a:extLst>
                </a:gridCol>
                <a:gridCol w="4259045">
                  <a:extLst>
                    <a:ext uri="{9D8B030D-6E8A-4147-A177-3AD203B41FA5}">
                      <a16:colId xmlns:a16="http://schemas.microsoft.com/office/drawing/2014/main" val="2925284243"/>
                    </a:ext>
                  </a:extLst>
                </a:gridCol>
                <a:gridCol w="3607816">
                  <a:extLst>
                    <a:ext uri="{9D8B030D-6E8A-4147-A177-3AD203B41FA5}">
                      <a16:colId xmlns:a16="http://schemas.microsoft.com/office/drawing/2014/main" val="2017984811"/>
                    </a:ext>
                  </a:extLst>
                </a:gridCol>
              </a:tblGrid>
              <a:tr h="449251">
                <a:tc>
                  <a:txBody>
                    <a:bodyPr/>
                    <a:lstStyle/>
                    <a:p>
                      <a:pPr algn="ctr"/>
                      <a:endParaRPr lang="en-GB" sz="1700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700">
                          <a:solidFill>
                            <a:schemeClr val="bg1"/>
                          </a:solidFill>
                          <a:hlinkClick r:id="rId3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Urgent/Important</a:t>
                      </a:r>
                      <a:endParaRPr lang="en-GB" sz="170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700">
                          <a:solidFill>
                            <a:schemeClr val="bg1"/>
                          </a:solidFill>
                          <a:hlinkClick r:id="rId3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outine</a:t>
                      </a:r>
                      <a:r>
                        <a:rPr lang="en-GB" sz="1700">
                          <a:solidFill>
                            <a:schemeClr val="bg1"/>
                          </a:solidFill>
                        </a:rPr>
                        <a:t>*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0082951"/>
                  </a:ext>
                </a:extLst>
              </a:tr>
              <a:tr h="449251">
                <a:tc>
                  <a:txBody>
                    <a:bodyPr/>
                    <a:lstStyle/>
                    <a:p>
                      <a:pPr algn="ctr"/>
                      <a:r>
                        <a:rPr lang="en-GB" sz="17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P, ESR</a:t>
                      </a:r>
                      <a:endParaRPr lang="en-GB" sz="17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 suspicious temporal arteritis consider CRP or ESR</a:t>
                      </a:r>
                      <a:endParaRPr lang="en-GB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7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 diagnosis of inflammatory conditions</a:t>
                      </a:r>
                      <a:endParaRPr lang="en-GB" sz="17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9086695"/>
                  </a:ext>
                </a:extLst>
              </a:tr>
              <a:tr h="1052356">
                <a:tc>
                  <a:txBody>
                    <a:bodyPr/>
                    <a:lstStyle/>
                    <a:p>
                      <a:pPr algn="ctr"/>
                      <a:r>
                        <a:rPr lang="en-GB" sz="17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tamin D</a:t>
                      </a:r>
                      <a:endParaRPr lang="en-GB" sz="17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7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firmation of rickets in a child</a:t>
                      </a:r>
                    </a:p>
                    <a:p>
                      <a:r>
                        <a:rPr lang="en-GB" sz="17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 clinical suspicion high treat</a:t>
                      </a:r>
                      <a:endParaRPr lang="en-GB" sz="17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7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utine monitoring of patients at risk of nutritional deficiency e.g. parenteral feeding, post bariatric surge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1609889"/>
                  </a:ext>
                </a:extLst>
              </a:tr>
              <a:tr h="738495">
                <a:tc>
                  <a:txBody>
                    <a:bodyPr/>
                    <a:lstStyle/>
                    <a:p>
                      <a:pPr algn="ctr"/>
                      <a:r>
                        <a:rPr lang="en-GB" sz="17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ne profile</a:t>
                      </a:r>
                      <a:endParaRPr lang="en-GB" sz="17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7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ute hypercalcaemia or hypocalcaemia</a:t>
                      </a:r>
                      <a:endParaRPr lang="en-GB" sz="17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7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utine monitoring of hyperparathyroidism, or CKD stage 4 or 5</a:t>
                      </a:r>
                      <a:endParaRPr lang="en-GB" sz="17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1180945"/>
                  </a:ext>
                </a:extLst>
              </a:tr>
              <a:tr h="738495">
                <a:tc>
                  <a:txBody>
                    <a:bodyPr/>
                    <a:lstStyle/>
                    <a:p>
                      <a:pPr algn="ctr"/>
                      <a:r>
                        <a:rPr lang="en-GB" sz="17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yroid profile</a:t>
                      </a:r>
                      <a:endParaRPr lang="en-GB" sz="170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ute thyrotoxicosis /thyroid storm - consider </a:t>
                      </a:r>
                      <a:r>
                        <a:rPr lang="en-GB" sz="170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ergency</a:t>
                      </a:r>
                      <a:r>
                        <a:rPr lang="en-GB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athways </a:t>
                      </a:r>
                      <a:endParaRPr lang="en-GB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7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utine monitoring of hyper or hypothyroidism</a:t>
                      </a:r>
                      <a:endParaRPr lang="en-GB" sz="17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9237449"/>
                  </a:ext>
                </a:extLst>
              </a:tr>
              <a:tr h="449251">
                <a:tc>
                  <a:txBody>
                    <a:bodyPr/>
                    <a:lstStyle/>
                    <a:p>
                      <a:pPr algn="ctr"/>
                      <a:r>
                        <a:rPr lang="en-GB" sz="17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bA1c</a:t>
                      </a:r>
                      <a:endParaRPr lang="en-GB" sz="17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700"/>
                        <a:t>Not urg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7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nitoring of T2DM or NDH</a:t>
                      </a:r>
                      <a:endParaRPr lang="en-GB" sz="17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1588946"/>
                  </a:ext>
                </a:extLst>
              </a:tr>
              <a:tr h="449251">
                <a:tc>
                  <a:txBody>
                    <a:bodyPr/>
                    <a:lstStyle/>
                    <a:p>
                      <a:pPr algn="ctr"/>
                      <a:r>
                        <a:rPr lang="en-GB" sz="17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ergy testing</a:t>
                      </a:r>
                      <a:endParaRPr lang="en-GB" sz="17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700"/>
                        <a:t>Not urg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sible </a:t>
                      </a:r>
                      <a:r>
                        <a:rPr lang="en-GB" sz="17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gE</a:t>
                      </a:r>
                      <a:r>
                        <a:rPr lang="en-GB" sz="17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ediated allergies</a:t>
                      </a:r>
                      <a:endParaRPr lang="en-GB" sz="17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6288761"/>
                  </a:ext>
                </a:extLst>
              </a:tr>
            </a:tbl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BE3841BA-73A3-4555-1F2D-D78634AD4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750" y="544950"/>
            <a:ext cx="7524521" cy="662782"/>
          </a:xfrm>
        </p:spPr>
        <p:txBody>
          <a:bodyPr/>
          <a:lstStyle/>
          <a:p>
            <a:r>
              <a:rPr lang="en-GB">
                <a:solidFill>
                  <a:srgbClr val="002060"/>
                </a:solidFill>
                <a:latin typeface="+mn-lt"/>
              </a:rPr>
              <a:t>Other test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FA7AA2-AE47-8B06-47D1-ABA19906DF95}"/>
              </a:ext>
            </a:extLst>
          </p:cNvPr>
          <p:cNvSpPr txBox="1"/>
          <p:nvPr/>
        </p:nvSpPr>
        <p:spPr>
          <a:xfrm>
            <a:off x="2183750" y="5989885"/>
            <a:ext cx="85198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*Record that a test is delayed using the Ardens </a:t>
            </a:r>
            <a:r>
              <a:rPr lang="en-GB" sz="16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‘</a:t>
            </a:r>
            <a:r>
              <a:rPr lang="en-GB" sz="1600" b="1" i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EL test delay protocol and template’</a:t>
            </a:r>
            <a:endParaRPr lang="en-GB" sz="1600" b="1" i="1" dirty="0">
              <a:solidFill>
                <a:srgbClr val="7030A0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34915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2A4EEA3-835E-CC45-89DB-51C1FC5EE208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248082196"/>
              </p:ext>
            </p:extLst>
          </p:nvPr>
        </p:nvGraphicFramePr>
        <p:xfrm>
          <a:off x="574414" y="1110674"/>
          <a:ext cx="11479793" cy="4738861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662808">
                  <a:extLst>
                    <a:ext uri="{9D8B030D-6E8A-4147-A177-3AD203B41FA5}">
                      <a16:colId xmlns:a16="http://schemas.microsoft.com/office/drawing/2014/main" val="2136310749"/>
                    </a:ext>
                  </a:extLst>
                </a:gridCol>
                <a:gridCol w="4697980">
                  <a:extLst>
                    <a:ext uri="{9D8B030D-6E8A-4147-A177-3AD203B41FA5}">
                      <a16:colId xmlns:a16="http://schemas.microsoft.com/office/drawing/2014/main" val="1619962230"/>
                    </a:ext>
                  </a:extLst>
                </a:gridCol>
                <a:gridCol w="5119005">
                  <a:extLst>
                    <a:ext uri="{9D8B030D-6E8A-4147-A177-3AD203B41FA5}">
                      <a16:colId xmlns:a16="http://schemas.microsoft.com/office/drawing/2014/main" val="1464131332"/>
                    </a:ext>
                  </a:extLst>
                </a:gridCol>
              </a:tblGrid>
              <a:tr h="311860">
                <a:tc>
                  <a:txBody>
                    <a:bodyPr/>
                    <a:lstStyle/>
                    <a:p>
                      <a:pPr algn="ctr"/>
                      <a:endParaRPr lang="en-GB" sz="1500">
                        <a:latin typeface="+mn-lt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>
                          <a:solidFill>
                            <a:schemeClr val="bg1"/>
                          </a:solidFill>
                          <a:latin typeface="+mn-lt"/>
                          <a:hlinkClick r:id="rId3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Urgent/Important</a:t>
                      </a:r>
                      <a:endParaRPr lang="en-GB" sz="150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>
                          <a:solidFill>
                            <a:schemeClr val="bg1"/>
                          </a:solidFill>
                          <a:latin typeface="+mn-lt"/>
                          <a:hlinkClick r:id="rId3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Routine</a:t>
                      </a:r>
                      <a:endParaRPr lang="en-GB" sz="150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0696143"/>
                  </a:ext>
                </a:extLst>
              </a:tr>
              <a:tr h="1638411">
                <a:tc>
                  <a:txBody>
                    <a:bodyPr/>
                    <a:lstStyle/>
                    <a:p>
                      <a:pPr algn="ctr"/>
                      <a:r>
                        <a:rPr lang="en-GB" sz="1500" b="1">
                          <a:latin typeface="+mn-lt"/>
                        </a:rPr>
                        <a:t>MSU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5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ere results will help to guide/change clinical management in the next 3-4 days</a:t>
                      </a:r>
                    </a:p>
                    <a:p>
                      <a:endParaRPr lang="en-GB" sz="15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5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.g. treatment failure, children and elderly adults, high risk of systemic infection/sepsis</a:t>
                      </a:r>
                      <a:endParaRPr lang="en-GB" sz="15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5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der treating empirically if clinical suspicion is high +/- suggestive urinalysis results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5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der using previous MSU results in the first instance before sending another sample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5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der delaying MSU for investigation of LUTIs i.e.  where using MSU to exclude infection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85509785"/>
                  </a:ext>
                </a:extLst>
              </a:tr>
              <a:tr h="1246584">
                <a:tc>
                  <a:txBody>
                    <a:bodyPr/>
                    <a:lstStyle/>
                    <a:p>
                      <a:pPr algn="ctr"/>
                      <a:r>
                        <a:rPr lang="en-GB" sz="1500" b="1">
                          <a:latin typeface="+mn-lt"/>
                        </a:rPr>
                        <a:t>Wound swab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5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ere results will help to guide/change clinical management in the next 3-4 days</a:t>
                      </a:r>
                    </a:p>
                    <a:p>
                      <a:endParaRPr lang="en-GB" sz="1500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5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.g. treatment failure, children and elderly adults, high risk of systemic infection/sepsis</a:t>
                      </a:r>
                      <a:endParaRPr lang="en-GB" sz="15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5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der treating empirically according to clinical picture, symptoms and sign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der using previous wound swab culture result in the first instance before sending another sample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56072527"/>
                  </a:ext>
                </a:extLst>
              </a:tr>
              <a:tr h="527986">
                <a:tc>
                  <a:txBody>
                    <a:bodyPr/>
                    <a:lstStyle/>
                    <a:p>
                      <a:pPr algn="ctr"/>
                      <a:r>
                        <a:rPr lang="en-GB" sz="1500" b="1">
                          <a:latin typeface="+mn-lt"/>
                        </a:rPr>
                        <a:t>Mycolog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>
                          <a:solidFill>
                            <a:schemeClr val="tx1"/>
                          </a:solidFill>
                          <a:latin typeface="+mn-lt"/>
                        </a:rPr>
                        <a:t>None are considered urg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GB" sz="1500">
                          <a:latin typeface="+mn-lt"/>
                        </a:rPr>
                        <a:t>These can be delayed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90350571"/>
                  </a:ext>
                </a:extLst>
              </a:tr>
              <a:tr h="980131">
                <a:tc>
                  <a:txBody>
                    <a:bodyPr/>
                    <a:lstStyle/>
                    <a:p>
                      <a:pPr algn="ctr"/>
                      <a:r>
                        <a:rPr lang="en-GB" sz="1500" b="1">
                          <a:latin typeface="+mn-lt"/>
                        </a:rPr>
                        <a:t>Chlamydia/other </a:t>
                      </a:r>
                      <a:r>
                        <a:rPr lang="en-GB" sz="1500" b="1" err="1">
                          <a:latin typeface="+mn-lt"/>
                        </a:rPr>
                        <a:t>uro</a:t>
                      </a:r>
                      <a:r>
                        <a:rPr lang="en-GB" sz="1500" b="1">
                          <a:latin typeface="+mn-lt"/>
                        </a:rPr>
                        <a:t>-genital swab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500">
                          <a:latin typeface="+mn-lt"/>
                        </a:rPr>
                        <a:t>If patient is unwell and </a:t>
                      </a:r>
                      <a:r>
                        <a:rPr lang="en-GB" sz="1500">
                          <a:latin typeface="+mn-lt"/>
                          <a:hlinkClick r:id="rId4"/>
                        </a:rPr>
                        <a:t>acute pelvic inflammatory disease</a:t>
                      </a:r>
                      <a:r>
                        <a:rPr lang="en-GB" sz="1500">
                          <a:latin typeface="+mn-lt"/>
                        </a:rPr>
                        <a:t> is suspected</a:t>
                      </a:r>
                    </a:p>
                    <a:p>
                      <a:pPr algn="l"/>
                      <a:r>
                        <a:rPr lang="en-GB" sz="1500">
                          <a:latin typeface="+mn-lt"/>
                        </a:rPr>
                        <a:t>Consider signposting to </a:t>
                      </a:r>
                      <a:r>
                        <a:rPr lang="en-GB" sz="15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local sexual health clinics</a:t>
                      </a:r>
                      <a:r>
                        <a:rPr lang="en-GB" sz="15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r to </a:t>
                      </a:r>
                      <a:r>
                        <a:rPr lang="en-GB" sz="15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Sexual Health London</a:t>
                      </a:r>
                      <a:r>
                        <a:rPr lang="en-GB" sz="15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obtain a home testing kit</a:t>
                      </a:r>
                      <a:endParaRPr lang="en-GB" sz="150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GB" sz="15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 you are concerned your patient may have an STI but not acutely unwell, please signposting them to </a:t>
                      </a:r>
                      <a:r>
                        <a:rPr lang="en-GB" sz="15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local sexual health clinics</a:t>
                      </a:r>
                      <a:r>
                        <a:rPr lang="en-GB" sz="15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r to </a:t>
                      </a:r>
                      <a:r>
                        <a:rPr lang="en-GB" sz="15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Sexual Health London</a:t>
                      </a:r>
                      <a:r>
                        <a:rPr lang="en-GB" sz="15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obtain a home testing kit</a:t>
                      </a:r>
                      <a:endParaRPr lang="en-GB" sz="150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65341438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81F0819-86B1-8E0D-59BD-C3B782F3B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7067" y="339616"/>
            <a:ext cx="5494489" cy="662782"/>
          </a:xfrm>
        </p:spPr>
        <p:txBody>
          <a:bodyPr/>
          <a:lstStyle/>
          <a:p>
            <a:r>
              <a:rPr lang="en-GB">
                <a:latin typeface="+mn-lt"/>
              </a:rPr>
              <a:t>Microbiolog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47A7912-9FBF-08ED-6191-A2E665E8DF79}"/>
              </a:ext>
            </a:extLst>
          </p:cNvPr>
          <p:cNvSpPr txBox="1"/>
          <p:nvPr/>
        </p:nvSpPr>
        <p:spPr>
          <a:xfrm>
            <a:off x="2687032" y="5957811"/>
            <a:ext cx="75852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*Record that a test is delayed using the Ardens </a:t>
            </a:r>
            <a:r>
              <a:rPr lang="en-GB" sz="16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‘</a:t>
            </a:r>
            <a:r>
              <a:rPr lang="en-GB" sz="1600" b="1" i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EL test delay protocol and template’</a:t>
            </a:r>
            <a:endParaRPr lang="en-GB" sz="1600" b="1" i="1" dirty="0">
              <a:solidFill>
                <a:srgbClr val="7030A0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037657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60D571-906B-6351-2F9B-FFB845666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3739" y="681686"/>
            <a:ext cx="7524521" cy="662782"/>
          </a:xfrm>
        </p:spPr>
        <p:txBody>
          <a:bodyPr/>
          <a:lstStyle/>
          <a:p>
            <a:r>
              <a:rPr lang="en-GB" sz="3600" dirty="0">
                <a:solidFill>
                  <a:schemeClr val="tx1"/>
                </a:solidFill>
                <a:latin typeface="+mn-lt"/>
              </a:rPr>
              <a:t>Cellular Pathology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3610A4F5-EADC-4496-89B9-E9A90E4DB9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7324067"/>
              </p:ext>
            </p:extLst>
          </p:nvPr>
        </p:nvGraphicFramePr>
        <p:xfrm>
          <a:off x="2031999" y="1532995"/>
          <a:ext cx="8127999" cy="37920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4112778452"/>
                    </a:ext>
                  </a:extLst>
                </a:gridCol>
                <a:gridCol w="5418666">
                  <a:extLst>
                    <a:ext uri="{9D8B030D-6E8A-4147-A177-3AD203B41FA5}">
                      <a16:colId xmlns:a16="http://schemas.microsoft.com/office/drawing/2014/main" val="3812014671"/>
                    </a:ext>
                  </a:extLst>
                </a:gridCol>
              </a:tblGrid>
              <a:tr h="695153">
                <a:tc>
                  <a:txBody>
                    <a:bodyPr/>
                    <a:lstStyle/>
                    <a:p>
                      <a:endParaRPr lang="en-GB" b="0" dirty="0"/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Status/Advice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500192"/>
                  </a:ext>
                </a:extLst>
              </a:tr>
              <a:tr h="599340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Cervical sme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/>
                        <a:t>Normal service; Can continue as usu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95823325"/>
                  </a:ext>
                </a:extLst>
              </a:tr>
              <a:tr h="1344678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Semen Analysi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b="0" dirty="0"/>
                        <a:t>Not available currently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800" b="0" dirty="0">
                          <a:effectLst/>
                          <a:latin typeface="Calibri" panose="020F050202020403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Record that a test is delayed using the Ardens </a:t>
                      </a:r>
                      <a:r>
                        <a:rPr lang="en-GB" sz="1800" b="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‘</a:t>
                      </a:r>
                      <a:r>
                        <a:rPr lang="en-GB" sz="1800" b="0" i="1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Aptos" panose="020B0004020202020204" pitchFamily="34" charset="0"/>
                          <a:cs typeface="Aptos" panose="020B0004020202020204" pitchFamily="34" charset="0"/>
                        </a:rPr>
                        <a:t>SEL test delay protocol and template’</a:t>
                      </a:r>
                      <a:endParaRPr lang="en-GB" b="0" dirty="0">
                        <a:solidFill>
                          <a:schemeClr val="accent2"/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b="0" dirty="0"/>
                        <a:t>Please inform patient not to book sample collection appointment until further noti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41699260"/>
                  </a:ext>
                </a:extLst>
              </a:tr>
              <a:tr h="1034477"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Histopathology (e.g. for minor surgery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0" dirty="0"/>
                        <a:t>Normal service; Can continue as usua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5301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59673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EBC2278-E63A-A972-20F8-6AC7072FB1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6166627"/>
              </p:ext>
            </p:extLst>
          </p:nvPr>
        </p:nvGraphicFramePr>
        <p:xfrm>
          <a:off x="262551" y="1122629"/>
          <a:ext cx="11820810" cy="49821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8533">
                  <a:extLst>
                    <a:ext uri="{9D8B030D-6E8A-4147-A177-3AD203B41FA5}">
                      <a16:colId xmlns:a16="http://schemas.microsoft.com/office/drawing/2014/main" val="2004188555"/>
                    </a:ext>
                  </a:extLst>
                </a:gridCol>
                <a:gridCol w="2790065">
                  <a:extLst>
                    <a:ext uri="{9D8B030D-6E8A-4147-A177-3AD203B41FA5}">
                      <a16:colId xmlns:a16="http://schemas.microsoft.com/office/drawing/2014/main" val="2362415146"/>
                    </a:ext>
                  </a:extLst>
                </a:gridCol>
                <a:gridCol w="6832212">
                  <a:extLst>
                    <a:ext uri="{9D8B030D-6E8A-4147-A177-3AD203B41FA5}">
                      <a16:colId xmlns:a16="http://schemas.microsoft.com/office/drawing/2014/main" val="3628233692"/>
                    </a:ext>
                  </a:extLst>
                </a:gridCol>
              </a:tblGrid>
              <a:tr h="279799">
                <a:tc gridSpan="3">
                  <a:txBody>
                    <a:bodyPr/>
                    <a:lstStyle/>
                    <a:p>
                      <a:pPr algn="ctr"/>
                      <a:r>
                        <a:rPr lang="en-GB" dirty="0"/>
                        <a:t>Cancer pathways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1377819"/>
                  </a:ext>
                </a:extLst>
              </a:tr>
              <a:tr h="346794">
                <a:tc rowSpan="4">
                  <a:txBody>
                    <a:bodyPr/>
                    <a:lstStyle/>
                    <a:p>
                      <a:pPr algn="ctr"/>
                      <a:r>
                        <a:rPr lang="en-GB" b="1"/>
                        <a:t>Gynaecology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Endometrial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No routine bloods required; abnormal US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2604906"/>
                  </a:ext>
                </a:extLst>
              </a:tr>
              <a:tr h="34679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Ovarian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/>
                        <a:t>Ca-125 helpful but not essential; consider urgent US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476502"/>
                  </a:ext>
                </a:extLst>
              </a:tr>
              <a:tr h="346794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Vulval &amp; other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/>
                        <a:t>No routine bloods required; based on clinical findings only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1433064"/>
                  </a:ext>
                </a:extLst>
              </a:tr>
              <a:tr h="41016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Cervical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9852142"/>
                  </a:ext>
                </a:extLst>
              </a:tr>
              <a:tr h="346794">
                <a:tc>
                  <a:txBody>
                    <a:bodyPr/>
                    <a:lstStyle/>
                    <a:p>
                      <a:pPr algn="ctr"/>
                      <a:r>
                        <a:rPr lang="en-GB" b="1"/>
                        <a:t>Head &amp; Neck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/>
                        <a:t>No routine bloods required; based on clinical findings only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3544942"/>
                  </a:ext>
                </a:extLst>
              </a:tr>
              <a:tr h="346794">
                <a:tc rowSpan="2">
                  <a:txBody>
                    <a:bodyPr/>
                    <a:lstStyle/>
                    <a:p>
                      <a:pPr algn="ctr"/>
                      <a:r>
                        <a:rPr lang="en-GB" b="1"/>
                        <a:t>Respiratory 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rmal CXR or nodule on CXR – non-contrast CT is ok therefore renal profile not strictly necessary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3873706"/>
                  </a:ext>
                </a:extLst>
              </a:tr>
              <a:tr h="36309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GB" dirty="0"/>
                        <a:t>Otherwise: direct CT which will need renal profile </a:t>
                      </a:r>
                      <a:r>
                        <a:rPr lang="en-GB" i="1" dirty="0"/>
                        <a:t>within the last 6 month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2681128"/>
                  </a:ext>
                </a:extLst>
              </a:tr>
              <a:tr h="346794">
                <a:tc>
                  <a:txBody>
                    <a:bodyPr/>
                    <a:lstStyle/>
                    <a:p>
                      <a:pPr algn="ctr"/>
                      <a:r>
                        <a:rPr lang="en-GB" b="1"/>
                        <a:t>Dermatology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/>
                        <a:t>No routine bloods required; based on clinical findings only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5238168"/>
                  </a:ext>
                </a:extLst>
              </a:tr>
              <a:tr h="346794">
                <a:tc>
                  <a:txBody>
                    <a:bodyPr/>
                    <a:lstStyle/>
                    <a:p>
                      <a:pPr algn="ctr"/>
                      <a:r>
                        <a:rPr lang="en-GB" b="1"/>
                        <a:t>Upper GI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dirty="0"/>
                        <a:t>Refer based on red flags; if renal profile ≤ 3 months ago then can consider straight-to-test endoscopy/CT pathway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0599166"/>
                  </a:ext>
                </a:extLst>
              </a:tr>
              <a:tr h="346794">
                <a:tc>
                  <a:txBody>
                    <a:bodyPr/>
                    <a:lstStyle/>
                    <a:p>
                      <a:pPr algn="ctr"/>
                      <a:r>
                        <a:rPr lang="en-GB" b="1"/>
                        <a:t>Lower GI 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GB" dirty="0"/>
                        <a:t>FIT availabl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8011072"/>
                  </a:ext>
                </a:extLst>
              </a:tr>
              <a:tr h="414697">
                <a:tc>
                  <a:txBody>
                    <a:bodyPr/>
                    <a:lstStyle/>
                    <a:p>
                      <a:pPr algn="ctr"/>
                      <a:r>
                        <a:rPr lang="en-GB" b="1"/>
                        <a:t>Rapid Diagnostic Centres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dirty="0"/>
                        <a:t>If clinical suspicion high, request imaging (CXR, USS), perform urinalysis, FIT test. Review with results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9190235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8CD0708-B618-6377-59BD-7A9478CCB041}"/>
              </a:ext>
            </a:extLst>
          </p:cNvPr>
          <p:cNvSpPr txBox="1"/>
          <p:nvPr/>
        </p:nvSpPr>
        <p:spPr>
          <a:xfrm>
            <a:off x="2425703" y="481147"/>
            <a:ext cx="712658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  <a:cs typeface="Aptos" panose="020B0004020202020204" pitchFamily="34" charset="0"/>
              </a:rPr>
              <a:t>Please indicate that your test requests are </a:t>
            </a:r>
            <a:r>
              <a:rPr lang="en-GB" sz="1800" b="1" dirty="0">
                <a:solidFill>
                  <a:srgbClr val="FF0000"/>
                </a:solidFill>
                <a:effectLst/>
                <a:latin typeface="+mn-lt"/>
                <a:ea typeface="Times New Roman" panose="02020603050405020304" pitchFamily="18" charset="0"/>
                <a:cs typeface="Aptos" panose="020B0004020202020204" pitchFamily="34" charset="0"/>
              </a:rPr>
              <a:t>important</a:t>
            </a:r>
            <a:r>
              <a:rPr lang="en-GB" sz="1800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  <a:cs typeface="Aptos" panose="020B0004020202020204" pitchFamily="34" charset="0"/>
              </a:rPr>
              <a:t> on the request forms</a:t>
            </a:r>
            <a:endParaRPr lang="en-GB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09201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D08B14F-716A-8E69-7365-A9D27CAC34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8774299"/>
              </p:ext>
            </p:extLst>
          </p:nvPr>
        </p:nvGraphicFramePr>
        <p:xfrm>
          <a:off x="416459" y="1086265"/>
          <a:ext cx="11398313" cy="4923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8634">
                  <a:extLst>
                    <a:ext uri="{9D8B030D-6E8A-4147-A177-3AD203B41FA5}">
                      <a16:colId xmlns:a16="http://schemas.microsoft.com/office/drawing/2014/main" val="3244217430"/>
                    </a:ext>
                  </a:extLst>
                </a:gridCol>
                <a:gridCol w="1511929">
                  <a:extLst>
                    <a:ext uri="{9D8B030D-6E8A-4147-A177-3AD203B41FA5}">
                      <a16:colId xmlns:a16="http://schemas.microsoft.com/office/drawing/2014/main" val="3414073944"/>
                    </a:ext>
                  </a:extLst>
                </a:gridCol>
                <a:gridCol w="7577750">
                  <a:extLst>
                    <a:ext uri="{9D8B030D-6E8A-4147-A177-3AD203B41FA5}">
                      <a16:colId xmlns:a16="http://schemas.microsoft.com/office/drawing/2014/main" val="2473612645"/>
                    </a:ext>
                  </a:extLst>
                </a:gridCol>
              </a:tblGrid>
              <a:tr h="366898">
                <a:tc gridSpan="3">
                  <a:txBody>
                    <a:bodyPr/>
                    <a:lstStyle/>
                    <a:p>
                      <a:pPr algn="ctr"/>
                      <a:r>
                        <a:rPr lang="en-GB"/>
                        <a:t>Cancer Pathways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3642263"/>
                  </a:ext>
                </a:extLst>
              </a:tr>
              <a:tr h="1062156">
                <a:tc rowSpan="4"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latin typeface="+mn-lt"/>
                        </a:rPr>
                        <a:t>Urology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latin typeface="+mn-lt"/>
                        </a:rPr>
                        <a:t>Prostate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effectLst/>
                          <a:latin typeface="+mn-lt"/>
                        </a:rPr>
                        <a:t>Difficult without a PSA. As in COVID, safety net the patient and </a:t>
                      </a:r>
                      <a:r>
                        <a:rPr lang="en-US" sz="1600" err="1">
                          <a:effectLst/>
                          <a:latin typeface="+mn-lt"/>
                        </a:rPr>
                        <a:t>prioritise</a:t>
                      </a:r>
                      <a:r>
                        <a:rPr lang="en-US" sz="1600">
                          <a:effectLst/>
                          <a:latin typeface="+mn-lt"/>
                        </a:rPr>
                        <a:t> PSA when this becomes available*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effectLst/>
                          <a:latin typeface="+mn-lt"/>
                        </a:rPr>
                        <a:t>If </a:t>
                      </a:r>
                      <a:r>
                        <a:rPr lang="en-US" sz="1600">
                          <a:effectLst/>
                          <a:latin typeface="+mn-lt"/>
                          <a:hlinkClick r:id="rId2"/>
                        </a:rPr>
                        <a:t>strong clinical suspicion</a:t>
                      </a:r>
                      <a:r>
                        <a:rPr lang="en-US" sz="1600">
                          <a:effectLst/>
                          <a:latin typeface="+mn-lt"/>
                        </a:rPr>
                        <a:t> and/or significant </a:t>
                      </a:r>
                      <a:r>
                        <a:rPr lang="en-US" sz="1600">
                          <a:effectLst/>
                          <a:latin typeface="+mn-lt"/>
                          <a:hlinkClick r:id="rId3"/>
                        </a:rPr>
                        <a:t>risk factors</a:t>
                      </a:r>
                      <a:r>
                        <a:rPr lang="en-US" sz="1600">
                          <a:effectLst/>
                          <a:latin typeface="+mn-lt"/>
                        </a:rPr>
                        <a:t> present (i.e. family history, ethnicity) then refer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7227092"/>
                  </a:ext>
                </a:extLst>
              </a:tr>
              <a:tr h="333820">
                <a:tc vMerge="1">
                  <a:txBody>
                    <a:bodyPr/>
                    <a:lstStyle/>
                    <a:p>
                      <a:endParaRPr lang="en-GB" sz="16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latin typeface="+mn-lt"/>
                        </a:rPr>
                        <a:t>Bladder/renal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rank haematuria with no signs/symptoms/WCC on urinalysi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4887959"/>
                  </a:ext>
                </a:extLst>
              </a:tr>
              <a:tr h="352847">
                <a:tc vMerge="1">
                  <a:txBody>
                    <a:bodyPr/>
                    <a:lstStyle/>
                    <a:p>
                      <a:endParaRPr lang="en-GB" sz="16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latin typeface="+mn-lt"/>
                        </a:rPr>
                        <a:t>Testicular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>
                          <a:latin typeface="+mn-lt"/>
                        </a:rPr>
                        <a:t>No routine bloods required; based on clinical presentation or suspicious USS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8831050"/>
                  </a:ext>
                </a:extLst>
              </a:tr>
              <a:tr h="333820">
                <a:tc vMerge="1">
                  <a:txBody>
                    <a:bodyPr/>
                    <a:lstStyle/>
                    <a:p>
                      <a:endParaRPr lang="en-GB" sz="160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latin typeface="+mn-lt"/>
                        </a:rPr>
                        <a:t>Penile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893211"/>
                  </a:ext>
                </a:extLst>
              </a:tr>
              <a:tr h="304353">
                <a:tc rowSpan="3">
                  <a:txBody>
                    <a:bodyPr/>
                    <a:lstStyle/>
                    <a:p>
                      <a:pPr algn="ctr"/>
                      <a:r>
                        <a:rPr lang="en-GB" sz="1600" b="1"/>
                        <a:t>Haematology/Oncology 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/>
                        <a:t>Leukaemia 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effectLst/>
                        </a:rPr>
                        <a:t>If patient clinically unwell +/- high clinical suspicion, please refer via the </a:t>
                      </a:r>
                      <a:r>
                        <a:rPr lang="en-US" sz="1600" b="1">
                          <a:solidFill>
                            <a:srgbClr val="FF0000"/>
                          </a:solidFill>
                          <a:effectLst/>
                          <a:hlinkClick r:id="rId4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mergency</a:t>
                      </a:r>
                      <a:r>
                        <a:rPr lang="en-US" sz="1600">
                          <a:effectLst/>
                        </a:rPr>
                        <a:t> pathway, or discussion with </a:t>
                      </a:r>
                      <a:r>
                        <a:rPr lang="en-US" sz="1600" err="1">
                          <a:effectLst/>
                        </a:rPr>
                        <a:t>haematology</a:t>
                      </a:r>
                      <a:endParaRPr lang="en-US" sz="1600">
                        <a:effectLst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effectLst/>
                        </a:rPr>
                        <a:t>Urgent blood test based on clinical presentation (*refer to 2ww form on which tests)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7704247"/>
                  </a:ext>
                </a:extLst>
              </a:tr>
              <a:tr h="352847">
                <a:tc vMerge="1">
                  <a:txBody>
                    <a:bodyPr/>
                    <a:lstStyle/>
                    <a:p>
                      <a:pPr algn="ctr"/>
                      <a:endParaRPr lang="en-GB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/>
                        <a:t>Lymphoma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5071832"/>
                  </a:ext>
                </a:extLst>
              </a:tr>
              <a:tr h="355884">
                <a:tc vMerge="1">
                  <a:txBody>
                    <a:bodyPr/>
                    <a:lstStyle/>
                    <a:p>
                      <a:pPr algn="ctr"/>
                      <a:endParaRPr lang="en-GB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/>
                        <a:t>Myeloma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1355726"/>
                  </a:ext>
                </a:extLst>
              </a:tr>
              <a:tr h="398937">
                <a:tc>
                  <a:txBody>
                    <a:bodyPr/>
                    <a:lstStyle/>
                    <a:p>
                      <a:pPr algn="ctr"/>
                      <a:r>
                        <a:rPr lang="en-GB" sz="1600" b="1"/>
                        <a:t>Brain &amp; CNS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/>
                        <a:t>No routine bloods required; based on clinical findings only. Direct CT possible if renal profile done in last 6m</a:t>
                      </a:r>
                      <a:endParaRPr lang="en-GB" sz="10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2773021"/>
                  </a:ext>
                </a:extLst>
              </a:tr>
              <a:tr h="333820">
                <a:tc>
                  <a:txBody>
                    <a:bodyPr/>
                    <a:lstStyle/>
                    <a:p>
                      <a:pPr algn="ctr"/>
                      <a:r>
                        <a:rPr lang="en-GB" sz="1600" b="1"/>
                        <a:t>Breast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1600">
                          <a:latin typeface="+mn-lt"/>
                        </a:rPr>
                        <a:t>No routine bloods required; based on clinical presentation 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7113170"/>
                  </a:ext>
                </a:extLst>
              </a:tr>
              <a:tr h="33382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600" b="1"/>
                        <a:t>Sarcoma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>
                          <a:latin typeface="+mn-lt"/>
                        </a:rPr>
                        <a:t>No routine bloods required; based on clinical presentation and/or imaging result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5098831"/>
                  </a:ext>
                </a:extLst>
              </a:tr>
              <a:tr h="352847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GB" sz="1600" b="1"/>
                        <a:t>Ophthalmology 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latin typeface="+mn-lt"/>
                        </a:rPr>
                        <a:t>No routine bloods required; based on clinical presentation and/or imaging result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0163203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CF23F7C-7302-1457-86A6-0AC7AD345D02}"/>
              </a:ext>
            </a:extLst>
          </p:cNvPr>
          <p:cNvSpPr txBox="1"/>
          <p:nvPr/>
        </p:nvSpPr>
        <p:spPr>
          <a:xfrm>
            <a:off x="2393133" y="6035109"/>
            <a:ext cx="740573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b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*Record that a test is delayed using the Ardens </a:t>
            </a:r>
            <a:r>
              <a:rPr lang="en-GB" sz="16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‘</a:t>
            </a:r>
            <a:r>
              <a:rPr lang="en-GB" sz="1600" b="1" i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EL test delay protocol and template’</a:t>
            </a:r>
            <a:endParaRPr lang="en-GB" sz="1600" b="1" i="1" dirty="0">
              <a:solidFill>
                <a:srgbClr val="7030A0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F99D287-7909-040B-ECCF-FE3FF58EFF82}"/>
              </a:ext>
            </a:extLst>
          </p:cNvPr>
          <p:cNvSpPr txBox="1"/>
          <p:nvPr/>
        </p:nvSpPr>
        <p:spPr>
          <a:xfrm>
            <a:off x="2393133" y="484337"/>
            <a:ext cx="73249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  <a:cs typeface="Aptos" panose="020B0004020202020204" pitchFamily="34" charset="0"/>
              </a:rPr>
              <a:t>Please indicate that your test requests are </a:t>
            </a:r>
            <a:r>
              <a:rPr lang="en-GB" sz="1800" b="1" dirty="0">
                <a:solidFill>
                  <a:srgbClr val="FF0000"/>
                </a:solidFill>
                <a:effectLst/>
                <a:latin typeface="+mn-lt"/>
                <a:ea typeface="Times New Roman" panose="02020603050405020304" pitchFamily="18" charset="0"/>
                <a:cs typeface="Aptos" panose="020B0004020202020204" pitchFamily="34" charset="0"/>
              </a:rPr>
              <a:t>important</a:t>
            </a:r>
            <a:r>
              <a:rPr lang="en-GB" sz="1800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  <a:cs typeface="Aptos" panose="020B0004020202020204" pitchFamily="34" charset="0"/>
              </a:rPr>
              <a:t> on the request forms</a:t>
            </a:r>
            <a:endParaRPr lang="en-GB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95074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992EC56-C25A-0CC4-BD30-926448AC660B}"/>
              </a:ext>
            </a:extLst>
          </p:cNvPr>
          <p:cNvSpPr txBox="1"/>
          <p:nvPr/>
        </p:nvSpPr>
        <p:spPr>
          <a:xfrm>
            <a:off x="468044" y="2087380"/>
            <a:ext cx="28491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/>
              <a:t>Paediatrics and Maternity</a:t>
            </a:r>
            <a:br>
              <a:rPr lang="en-GB" sz="3600" b="1" dirty="0"/>
            </a:br>
            <a:endParaRPr lang="en-GB" sz="3600" b="1" dirty="0"/>
          </a:p>
        </p:txBody>
      </p:sp>
      <p:sp>
        <p:nvSpPr>
          <p:cNvPr id="3" name="Content Placeholder 5">
            <a:extLst>
              <a:ext uri="{FF2B5EF4-FFF2-40B4-BE49-F238E27FC236}">
                <a16:creationId xmlns:a16="http://schemas.microsoft.com/office/drawing/2014/main" id="{5D27D3C7-CE1A-9168-FBF7-5E4DF48D0840}"/>
              </a:ext>
            </a:extLst>
          </p:cNvPr>
          <p:cNvSpPr txBox="1">
            <a:spLocks/>
          </p:cNvSpPr>
          <p:nvPr/>
        </p:nvSpPr>
        <p:spPr>
          <a:xfrm>
            <a:off x="3809425" y="1113576"/>
            <a:ext cx="7466045" cy="4726624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200" b="1" dirty="0"/>
              <a:t>Paediatrics</a:t>
            </a:r>
          </a:p>
          <a:p>
            <a:r>
              <a:rPr lang="en-GB" sz="2200" dirty="0"/>
              <a:t>Request important bloods via borough-specific CYP phlebotomy pathway(s)</a:t>
            </a:r>
          </a:p>
          <a:p>
            <a:r>
              <a:rPr lang="en-GB" sz="2200" dirty="0"/>
              <a:t>Request important CYP pathology (bloods, MSU, wab) as clinically applicable according to previous slides </a:t>
            </a:r>
          </a:p>
          <a:p>
            <a:r>
              <a:rPr lang="en-GB" sz="2200" dirty="0"/>
              <a:t>Seek specialist advice via </a:t>
            </a:r>
            <a:r>
              <a:rPr lang="en-GB" sz="22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Consultant </a:t>
            </a:r>
            <a:r>
              <a:rPr lang="en-GB" sz="2200" dirty="0">
                <a:ea typeface="Aptos" panose="020B0004020202020204" pitchFamily="34" charset="0"/>
                <a:cs typeface="Aptos" panose="020B0004020202020204" pitchFamily="34" charset="0"/>
              </a:rPr>
              <a:t>C</a:t>
            </a:r>
            <a:r>
              <a:rPr lang="en-GB" sz="22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onnect if you ar</a:t>
            </a:r>
            <a:r>
              <a:rPr lang="en-GB" sz="2200" dirty="0">
                <a:ea typeface="Aptos" panose="020B0004020202020204" pitchFamily="34" charset="0"/>
                <a:cs typeface="Aptos" panose="020B0004020202020204" pitchFamily="34" charset="0"/>
              </a:rPr>
              <a:t>e unsure on </a:t>
            </a:r>
            <a:r>
              <a:rPr lang="en-GB" sz="22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whether a test is required</a:t>
            </a:r>
            <a:endParaRPr lang="en-GB" sz="2200" dirty="0"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indent="0">
              <a:buNone/>
            </a:pPr>
            <a:r>
              <a:rPr lang="en-GB" sz="2200" b="1" dirty="0"/>
              <a:t>Maternity</a:t>
            </a:r>
            <a:r>
              <a:rPr lang="en-GB" sz="2200" dirty="0"/>
              <a:t> </a:t>
            </a:r>
          </a:p>
          <a:p>
            <a:r>
              <a:rPr lang="en-GB" sz="2200" dirty="0"/>
              <a:t>Request urgent/important pathology as above slide</a:t>
            </a:r>
          </a:p>
          <a:p>
            <a:r>
              <a:rPr lang="en-GB" sz="2200" dirty="0"/>
              <a:t>If uncertain, please discuss and/or manage with midwifery, antenatal or obstetric team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9B2412-7F30-1362-98F6-4A46C45BE8DE}"/>
              </a:ext>
            </a:extLst>
          </p:cNvPr>
          <p:cNvCxnSpPr>
            <a:cxnSpLocks/>
          </p:cNvCxnSpPr>
          <p:nvPr/>
        </p:nvCxnSpPr>
        <p:spPr>
          <a:xfrm>
            <a:off x="3609321" y="1113576"/>
            <a:ext cx="0" cy="438187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D3C13635-E086-7642-5A0A-BC5153DC725C}"/>
              </a:ext>
            </a:extLst>
          </p:cNvPr>
          <p:cNvSpPr txBox="1"/>
          <p:nvPr/>
        </p:nvSpPr>
        <p:spPr>
          <a:xfrm>
            <a:off x="376066" y="5689146"/>
            <a:ext cx="1143986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500" b="1" dirty="0">
                <a:solidFill>
                  <a:srgbClr val="FF0000"/>
                </a:solidFill>
              </a:rPr>
              <a:t>Urgent: </a:t>
            </a:r>
            <a:r>
              <a:rPr lang="en-GB" sz="1500" dirty="0"/>
              <a:t>Essential</a:t>
            </a:r>
            <a:r>
              <a:rPr lang="en-US" sz="1500" dirty="0"/>
              <a:t> to inform short-term treatment which cannot be determined or safely administered without the investigation(s) e.g. 3-4 days</a:t>
            </a:r>
            <a:endParaRPr lang="en-GB" sz="1500" dirty="0">
              <a:solidFill>
                <a:srgbClr val="FF0000"/>
              </a:solidFill>
              <a:hlinkClick r:id="rId3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GB" sz="1500" b="1" dirty="0">
                <a:solidFill>
                  <a:srgbClr val="FF0000"/>
                </a:solidFill>
              </a:rPr>
              <a:t>Important: </a:t>
            </a:r>
            <a:r>
              <a:rPr lang="en-US" sz="1500" dirty="0"/>
              <a:t>required for safe clinical management e.g. within 1 week </a:t>
            </a:r>
            <a:endParaRPr lang="en-GB" sz="15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77FCC5B-52D4-B40C-F22E-D6A5CF28D901}"/>
              </a:ext>
            </a:extLst>
          </p:cNvPr>
          <p:cNvSpPr txBox="1"/>
          <p:nvPr/>
        </p:nvSpPr>
        <p:spPr>
          <a:xfrm>
            <a:off x="2832226" y="273552"/>
            <a:ext cx="652754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  <a:cs typeface="Aptos" panose="020B0004020202020204" pitchFamily="34" charset="0"/>
              </a:rPr>
              <a:t>Please indicate if your test requests are </a:t>
            </a:r>
            <a:r>
              <a:rPr lang="en-GB" sz="1800" b="1" dirty="0">
                <a:solidFill>
                  <a:srgbClr val="FF0000"/>
                </a:solidFill>
                <a:effectLst/>
                <a:latin typeface="+mn-lt"/>
                <a:ea typeface="Times New Roman" panose="02020603050405020304" pitchFamily="18" charset="0"/>
                <a:cs typeface="Aptos" panose="020B0004020202020204" pitchFamily="34" charset="0"/>
              </a:rPr>
              <a:t>urgent/important</a:t>
            </a:r>
            <a:r>
              <a:rPr lang="en-GB" sz="1800" dirty="0">
                <a:solidFill>
                  <a:srgbClr val="000000"/>
                </a:solidFill>
                <a:effectLst/>
                <a:latin typeface="+mn-lt"/>
                <a:ea typeface="Times New Roman" panose="02020603050405020304" pitchFamily="18" charset="0"/>
                <a:cs typeface="Aptos" panose="020B0004020202020204" pitchFamily="34" charset="0"/>
              </a:rPr>
              <a:t> on the request forms</a:t>
            </a:r>
            <a:endParaRPr lang="en-GB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822937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992EC56-C25A-0CC4-BD30-926448AC660B}"/>
              </a:ext>
            </a:extLst>
          </p:cNvPr>
          <p:cNvSpPr txBox="1"/>
          <p:nvPr/>
        </p:nvSpPr>
        <p:spPr>
          <a:xfrm>
            <a:off x="425744" y="2153628"/>
            <a:ext cx="2713399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400" b="1" dirty="0"/>
              <a:t>Routine Virology &amp; Immunology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291ED57-3D44-A583-3018-C315C560CEC2}"/>
              </a:ext>
            </a:extLst>
          </p:cNvPr>
          <p:cNvCxnSpPr/>
          <p:nvPr/>
        </p:nvCxnSpPr>
        <p:spPr>
          <a:xfrm>
            <a:off x="3356658" y="1018572"/>
            <a:ext cx="0" cy="46993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759FFEB-6704-C9FD-1636-0E11BBE49434}"/>
              </a:ext>
            </a:extLst>
          </p:cNvPr>
          <p:cNvSpPr txBox="1">
            <a:spLocks/>
          </p:cNvSpPr>
          <p:nvPr/>
        </p:nvSpPr>
        <p:spPr>
          <a:xfrm>
            <a:off x="3791688" y="555331"/>
            <a:ext cx="8131726" cy="505781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700" b="1" u="sng" dirty="0"/>
              <a:t>Virology</a:t>
            </a:r>
            <a:r>
              <a:rPr lang="en-GB" sz="1700" b="1" dirty="0"/>
              <a:t> </a:t>
            </a:r>
            <a:r>
              <a:rPr lang="en-GB" sz="1700" i="1" dirty="0">
                <a:solidFill>
                  <a:srgbClr val="FF0000"/>
                </a:solidFill>
              </a:rPr>
              <a:t>High risk groups</a:t>
            </a:r>
          </a:p>
          <a:p>
            <a:pPr marL="0" indent="0">
              <a:buNone/>
            </a:pPr>
            <a:endParaRPr lang="en-GB" sz="200" i="1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GB" sz="1700" b="1" dirty="0"/>
              <a:t>Paediatrics</a:t>
            </a:r>
          </a:p>
          <a:p>
            <a:r>
              <a:rPr lang="en-GB" sz="1700" dirty="0"/>
              <a:t>Request important bloods via borough-specific CYP phlebotomy pathway(s)</a:t>
            </a:r>
          </a:p>
          <a:p>
            <a:r>
              <a:rPr lang="en-GB" sz="1700" dirty="0"/>
              <a:t>Seek specialist advice via </a:t>
            </a:r>
            <a:r>
              <a:rPr lang="en-GB" sz="17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Consultant </a:t>
            </a:r>
            <a:r>
              <a:rPr lang="en-GB" sz="1700" dirty="0">
                <a:ea typeface="Aptos" panose="020B0004020202020204" pitchFamily="34" charset="0"/>
                <a:cs typeface="Aptos" panose="020B0004020202020204" pitchFamily="34" charset="0"/>
              </a:rPr>
              <a:t>C</a:t>
            </a:r>
            <a:r>
              <a:rPr lang="en-GB" sz="17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onnect if you ar</a:t>
            </a:r>
            <a:r>
              <a:rPr lang="en-GB" sz="1700" dirty="0">
                <a:ea typeface="Aptos" panose="020B0004020202020204" pitchFamily="34" charset="0"/>
                <a:cs typeface="Aptos" panose="020B0004020202020204" pitchFamily="34" charset="0"/>
              </a:rPr>
              <a:t>e unsure on </a:t>
            </a:r>
            <a:r>
              <a:rPr lang="en-GB" sz="17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whether a virology test is required</a:t>
            </a:r>
            <a:endParaRPr lang="en-GB" sz="1700" dirty="0"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indent="0">
              <a:buNone/>
            </a:pPr>
            <a:r>
              <a:rPr lang="en-GB" sz="1700" b="1" dirty="0"/>
              <a:t>Maternity</a:t>
            </a:r>
            <a:r>
              <a:rPr lang="en-GB" sz="1700" dirty="0"/>
              <a:t> </a:t>
            </a:r>
          </a:p>
          <a:p>
            <a:r>
              <a:rPr lang="en-GB" sz="1700" dirty="0"/>
              <a:t>Seek specialist advice via </a:t>
            </a:r>
            <a:r>
              <a:rPr lang="en-GB" sz="17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Consultant </a:t>
            </a:r>
            <a:r>
              <a:rPr lang="en-GB" sz="1700" dirty="0">
                <a:ea typeface="Aptos" panose="020B0004020202020204" pitchFamily="34" charset="0"/>
                <a:cs typeface="Aptos" panose="020B0004020202020204" pitchFamily="34" charset="0"/>
              </a:rPr>
              <a:t>C</a:t>
            </a:r>
            <a:r>
              <a:rPr lang="en-GB" sz="17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onnect if you ar</a:t>
            </a:r>
            <a:r>
              <a:rPr lang="en-GB" sz="1700" dirty="0">
                <a:ea typeface="Aptos" panose="020B0004020202020204" pitchFamily="34" charset="0"/>
                <a:cs typeface="Aptos" panose="020B0004020202020204" pitchFamily="34" charset="0"/>
              </a:rPr>
              <a:t>e unsure on </a:t>
            </a:r>
            <a:r>
              <a:rPr lang="en-GB" sz="1700" dirty="0">
                <a:effectLst/>
                <a:ea typeface="Aptos" panose="020B0004020202020204" pitchFamily="34" charset="0"/>
                <a:cs typeface="Aptos" panose="020B0004020202020204" pitchFamily="34" charset="0"/>
              </a:rPr>
              <a:t>whether a test is required</a:t>
            </a:r>
          </a:p>
          <a:p>
            <a:r>
              <a:rPr lang="en-GB" sz="1700" dirty="0">
                <a:solidFill>
                  <a:srgbClr val="000000"/>
                </a:solidFill>
                <a:ea typeface="Times New Roman" panose="02020603050405020304" pitchFamily="18" charset="0"/>
                <a:cs typeface="Aptos" panose="020B0004020202020204" pitchFamily="34" charset="0"/>
              </a:rPr>
              <a:t>If</a:t>
            </a:r>
            <a:r>
              <a:rPr lang="en-GB" sz="17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Aptos" panose="020B0004020202020204" pitchFamily="34" charset="0"/>
              </a:rPr>
              <a:t> uncertain discuss and/or manage with midwifery, antenatal or obstetric teams</a:t>
            </a:r>
          </a:p>
          <a:p>
            <a:pPr marL="0" indent="0">
              <a:buNone/>
            </a:pPr>
            <a:endParaRPr lang="en-GB" sz="200" dirty="0"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en-GB" sz="1700" dirty="0">
                <a:ea typeface="Times New Roman" panose="02020603050405020304" pitchFamily="18" charset="0"/>
                <a:cs typeface="Segoe UI" panose="020B0502040204020203" pitchFamily="34" charset="0"/>
              </a:rPr>
              <a:t>In other groups, please discuss with secondary care teams if unsure (A&amp;G, Consultant Connect)</a:t>
            </a:r>
          </a:p>
          <a:p>
            <a:pPr marL="0" indent="0">
              <a:buNone/>
            </a:pPr>
            <a:endParaRPr lang="en-GB" sz="200" dirty="0"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marL="0" indent="0">
              <a:buNone/>
            </a:pPr>
            <a:r>
              <a:rPr lang="en-GB" sz="1700" b="1" u="sng" dirty="0">
                <a:ea typeface="Times New Roman" panose="02020603050405020304" pitchFamily="18" charset="0"/>
                <a:cs typeface="Segoe UI" panose="020B0502040204020203" pitchFamily="34" charset="0"/>
              </a:rPr>
              <a:t>Immunology</a:t>
            </a:r>
            <a:endParaRPr lang="en-GB" sz="1700" b="1" u="sng" dirty="0">
              <a:ea typeface="Times New Roman" panose="02020603050405020304" pitchFamily="18" charset="0"/>
            </a:endParaRPr>
          </a:p>
          <a:p>
            <a:pPr lvl="1"/>
            <a:r>
              <a:rPr lang="en-GB" sz="1700" dirty="0"/>
              <a:t>If in doubt, discuss with specialist colleagues: Call or email </a:t>
            </a:r>
            <a:r>
              <a:rPr lang="en-GB" sz="1700" dirty="0">
                <a:hlinkClick r:id="rId3"/>
              </a:rPr>
              <a:t>Synnovis Customer Services</a:t>
            </a:r>
            <a:r>
              <a:rPr lang="en-GB" sz="1700" dirty="0"/>
              <a:t> to link up; consider using Advice &amp; Guidanc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0FD72FC-0108-9393-2088-BC758382B2D2}"/>
              </a:ext>
            </a:extLst>
          </p:cNvPr>
          <p:cNvSpPr txBox="1"/>
          <p:nvPr/>
        </p:nvSpPr>
        <p:spPr>
          <a:xfrm>
            <a:off x="376848" y="5717894"/>
            <a:ext cx="113594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/>
              <a:t>Routine is </a:t>
            </a:r>
            <a:r>
              <a:rPr lang="en-US" sz="1600" b="1" dirty="0"/>
              <a:t>defined as required for appropriate ongoing clinical management but can be reasonably deferred e.g. within </a:t>
            </a:r>
            <a:r>
              <a:rPr lang="en-US" sz="1600" b="1" u="none" dirty="0"/>
              <a:t>1- 3 months</a:t>
            </a:r>
            <a:r>
              <a:rPr lang="en-US" sz="1600" b="1" dirty="0"/>
              <a:t>.</a:t>
            </a:r>
          </a:p>
          <a:p>
            <a:r>
              <a:rPr lang="en-GB" sz="1600" b="1" dirty="0">
                <a:ea typeface="Aptos" panose="020B0004020202020204" pitchFamily="34" charset="0"/>
                <a:cs typeface="Aptos" panose="020B0004020202020204" pitchFamily="34" charset="0"/>
              </a:rPr>
              <a:t>If a test can be delayed, r</a:t>
            </a:r>
            <a:r>
              <a:rPr lang="en-GB" sz="1600" b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ecord that a test is delayed using the Ardens </a:t>
            </a:r>
            <a:r>
              <a:rPr lang="en-GB" sz="16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‘</a:t>
            </a:r>
            <a:r>
              <a:rPr lang="en-GB" sz="1600" b="1" i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EL test delay protocol and template’</a:t>
            </a:r>
            <a:endParaRPr lang="en-US" sz="1600" b="1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2233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8899903-0E09-6371-AC82-EAC59D197B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13751989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1D22BBD-17DC-43A4-1191-29082B388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2790" y="190679"/>
            <a:ext cx="4705350" cy="398352"/>
          </a:xfrm>
        </p:spPr>
        <p:txBody>
          <a:bodyPr/>
          <a:lstStyle/>
          <a:p>
            <a:r>
              <a:rPr lang="en-GB" sz="2000">
                <a:solidFill>
                  <a:schemeClr val="tx1"/>
                </a:solidFill>
              </a:rPr>
              <a:t>Table of Content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56CD0B0-F818-7571-621C-3D7EB074F2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0323330"/>
              </p:ext>
            </p:extLst>
          </p:nvPr>
        </p:nvGraphicFramePr>
        <p:xfrm>
          <a:off x="3348273" y="603368"/>
          <a:ext cx="5148299" cy="52962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48299">
                  <a:extLst>
                    <a:ext uri="{9D8B030D-6E8A-4147-A177-3AD203B41FA5}">
                      <a16:colId xmlns:a16="http://schemas.microsoft.com/office/drawing/2014/main" val="1683310894"/>
                    </a:ext>
                  </a:extLst>
                </a:gridCol>
              </a:tblGrid>
              <a:tr h="365652">
                <a:tc>
                  <a:txBody>
                    <a:bodyPr/>
                    <a:lstStyle/>
                    <a:p>
                      <a:pPr algn="ctr"/>
                      <a:r>
                        <a:rPr lang="en-GB" sz="1600"/>
                        <a:t>Cont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5437987"/>
                  </a:ext>
                </a:extLst>
              </a:tr>
              <a:tr h="355004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hlinkClick r:id="rId2" action="ppaction://hlinksldjump"/>
                        </a:rPr>
                        <a:t>Purpose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7707001"/>
                  </a:ext>
                </a:extLst>
              </a:tr>
              <a:tr h="355004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hlinkClick r:id="rId3" action="ppaction://hlinksldjump"/>
                        </a:rPr>
                        <a:t>General principles during this period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0580212"/>
                  </a:ext>
                </a:extLst>
              </a:tr>
              <a:tr h="334766">
                <a:tc>
                  <a:txBody>
                    <a:bodyPr/>
                    <a:lstStyle/>
                    <a:p>
                      <a:pPr algn="ctr"/>
                      <a:r>
                        <a:rPr lang="en-GB" sz="1600">
                          <a:hlinkClick r:id="rId4" action="ppaction://hlinksldjump"/>
                        </a:rPr>
                        <a:t>Definitions</a:t>
                      </a:r>
                      <a:endParaRPr lang="en-GB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6141993"/>
                  </a:ext>
                </a:extLst>
              </a:tr>
              <a:tr h="355004">
                <a:tc>
                  <a:txBody>
                    <a:bodyPr/>
                    <a:lstStyle/>
                    <a:p>
                      <a:pPr algn="ctr"/>
                      <a:r>
                        <a:rPr lang="en-GB" sz="1600">
                          <a:hlinkClick r:id="rId5" action="ppaction://hlinksldjump"/>
                        </a:rPr>
                        <a:t>Critical/Urgent scenarios</a:t>
                      </a:r>
                      <a:endParaRPr lang="en-GB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2064709"/>
                  </a:ext>
                </a:extLst>
              </a:tr>
              <a:tr h="355004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hlinkClick r:id="rId6" action="ppaction://hlinksldjump"/>
                        </a:rPr>
                        <a:t>Renal Profile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4042657"/>
                  </a:ext>
                </a:extLst>
              </a:tr>
              <a:tr h="355004">
                <a:tc>
                  <a:txBody>
                    <a:bodyPr/>
                    <a:lstStyle/>
                    <a:p>
                      <a:pPr algn="ctr"/>
                      <a:r>
                        <a:rPr lang="en-GB" sz="1600">
                          <a:hlinkClick r:id="rId7" action="ppaction://hlinksldjump"/>
                        </a:rPr>
                        <a:t>Hyperkalaemia</a:t>
                      </a:r>
                      <a:endParaRPr lang="en-GB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628426"/>
                  </a:ext>
                </a:extLst>
              </a:tr>
              <a:tr h="355004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hlinkClick r:id="rId8" action="ppaction://hlinksldjump"/>
                        </a:rPr>
                        <a:t>Hyponatraemia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14820"/>
                  </a:ext>
                </a:extLst>
              </a:tr>
              <a:tr h="355004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hlinkClick r:id="rId9" action="ppaction://hlinksldjump"/>
                        </a:rPr>
                        <a:t>Liver Profile</a:t>
                      </a:r>
                      <a:r>
                        <a:rPr lang="en-GB" sz="1600" dirty="0"/>
                        <a:t> &amp; </a:t>
                      </a:r>
                      <a:r>
                        <a:rPr lang="en-GB" sz="1600" dirty="0">
                          <a:hlinkClick r:id="rId9" action="ppaction://hlinksldjump"/>
                        </a:rPr>
                        <a:t>Full Blood Count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0199478"/>
                  </a:ext>
                </a:extLst>
              </a:tr>
              <a:tr h="355004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hlinkClick r:id="rId10" action="ppaction://hlinksldjump"/>
                        </a:rPr>
                        <a:t>Other tests 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1880477"/>
                  </a:ext>
                </a:extLst>
              </a:tr>
              <a:tr h="355004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  <a:hlinkClick r:id="rId11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Microbiology</a:t>
                      </a:r>
                      <a:r>
                        <a:rPr lang="en-GB" sz="1600" dirty="0">
                          <a:solidFill>
                            <a:srgbClr val="0070C0"/>
                          </a:solidFill>
                        </a:rPr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5410236"/>
                  </a:ext>
                </a:extLst>
              </a:tr>
              <a:tr h="355004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70C0"/>
                          </a:solidFill>
                          <a:hlinkClick r:id="rId12" action="ppaction://hlinksldjump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ellular Pathology</a:t>
                      </a:r>
                      <a:endParaRPr lang="en-GB" sz="1600" dirty="0">
                        <a:solidFill>
                          <a:srgbClr val="0070C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7809180"/>
                  </a:ext>
                </a:extLst>
              </a:tr>
              <a:tr h="35500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hlinkClick r:id="rId13" action="ppaction://hlinksldjump"/>
                        </a:rPr>
                        <a:t>Cancer Pathways 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8870705"/>
                  </a:ext>
                </a:extLst>
              </a:tr>
              <a:tr h="355004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hlinkClick r:id="rId14" action="ppaction://hlinksldjump"/>
                        </a:rPr>
                        <a:t>Paediatrics &amp; Maternity</a:t>
                      </a:r>
                      <a:r>
                        <a:rPr lang="en-GB" sz="1600" dirty="0"/>
                        <a:t> – Important tes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4432044"/>
                  </a:ext>
                </a:extLst>
              </a:tr>
              <a:tr h="320963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hlinkClick r:id="rId15" action="ppaction://hlinksldjump"/>
                        </a:rPr>
                        <a:t>Virology &amp; Immunology </a:t>
                      </a:r>
                      <a:r>
                        <a:rPr lang="en-GB" sz="1600" dirty="0"/>
                        <a:t>– Routine tes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65386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08552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04A33EE-85A8-C046-2969-1248FCDA882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95968" y="857249"/>
            <a:ext cx="11326812" cy="5526999"/>
          </a:xfrm>
        </p:spPr>
        <p:txBody>
          <a:bodyPr lIns="91440" tIns="45720" rIns="91440" bIns="45720" anchor="ctr">
            <a:normAutofit/>
          </a:bodyPr>
          <a:lstStyle/>
          <a:p>
            <a:pPr>
              <a:spcBef>
                <a:spcPts val="500"/>
              </a:spcBef>
              <a:spcAft>
                <a:spcPts val="1000"/>
              </a:spcAft>
            </a:pP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Times New Roman" panose="02020603050405020304" pitchFamily="18" charset="0"/>
                <a:cs typeface="Times New Roman"/>
              </a:rPr>
              <a:t>This document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Times New Roman" panose="02020603050405020304" pitchFamily="18" charset="0"/>
                <a:cs typeface="Times New Roman"/>
              </a:rPr>
              <a:t>summarises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Times New Roman" panose="02020603050405020304" pitchFamily="18" charset="0"/>
                <a:cs typeface="Times New Roman"/>
              </a:rPr>
              <a:t> the clinical guidance for pathology testing 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Times New Roman" panose="02020603050405020304" pitchFamily="18" charset="0"/>
                <a:cs typeface="Times New Roman"/>
              </a:rPr>
              <a:t>in primary care in response to the Synnovis cyber attack which occurred on 03/06/2024. It has been jointly developed with the acute Trusts, the S.E. London Cancer Alliance, Children &amp; Young People, Maternity and Urgent &amp; Emergency Care clinical leads. </a:t>
            </a:r>
            <a:r>
              <a:rPr lang="en-US" sz="2000" dirty="0">
                <a:solidFill>
                  <a:schemeClr val="tx1"/>
                </a:solidFill>
                <a:latin typeface="+mn-lt"/>
                <a:ea typeface="Times New Roman" panose="02020603050405020304" pitchFamily="18" charset="0"/>
                <a:cs typeface="Times New Roman"/>
              </a:rPr>
              <a:t>This document is subject to change as the incident is evolving on a daily basis. We will share changes as soon as we are able. </a:t>
            </a:r>
          </a:p>
          <a:p>
            <a:pPr>
              <a:spcBef>
                <a:spcPts val="500"/>
              </a:spcBef>
              <a:spcAft>
                <a:spcPts val="1000"/>
              </a:spcAft>
            </a:pPr>
            <a:r>
              <a:rPr lang="en-US" sz="2000" dirty="0">
                <a:solidFill>
                  <a:schemeClr val="tx1"/>
                </a:solidFill>
                <a:latin typeface="+mn-lt"/>
                <a:ea typeface="Times New Roman" panose="02020603050405020304" pitchFamily="18" charset="0"/>
                <a:cs typeface="Times New Roman"/>
              </a:rPr>
              <a:t>Please refer to the SEL Medicines Optimisation Team recommendations on monitoring medications for primary care on the </a:t>
            </a:r>
            <a:r>
              <a:rPr lang="en-US" sz="2000" dirty="0">
                <a:solidFill>
                  <a:schemeClr val="tx1"/>
                </a:solidFill>
                <a:latin typeface="+mn-lt"/>
                <a:ea typeface="Times New Roman" panose="02020603050405020304" pitchFamily="18" charset="0"/>
                <a:cs typeface="Times New Roman"/>
                <a:hlinkClick r:id="rId2"/>
              </a:rPr>
              <a:t>webpage for primary care here</a:t>
            </a:r>
            <a:r>
              <a:rPr lang="en-US" sz="2000" dirty="0">
                <a:solidFill>
                  <a:schemeClr val="tx1"/>
                </a:solidFill>
                <a:latin typeface="+mn-lt"/>
                <a:ea typeface="Times New Roman" panose="02020603050405020304" pitchFamily="18" charset="0"/>
                <a:cs typeface="Times New Roman"/>
              </a:rPr>
              <a:t>.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eparate </a:t>
            </a:r>
            <a:r>
              <a:rPr lang="en-US" sz="2000" dirty="0" err="1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guidances</a:t>
            </a:r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are available for patients under the care of community and mental health trusts.</a:t>
            </a:r>
          </a:p>
          <a:p>
            <a:pPr>
              <a:spcBef>
                <a:spcPts val="500"/>
              </a:spcBef>
              <a:spcAft>
                <a:spcPts val="1000"/>
              </a:spcAft>
            </a:pPr>
            <a:endParaRPr lang="en-US" sz="100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500"/>
              </a:spcBef>
              <a:spcAft>
                <a:spcPts val="1000"/>
              </a:spcAft>
            </a:pPr>
            <a:endParaRPr lang="en-US" sz="2000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+mn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spcBef>
                <a:spcPts val="500"/>
              </a:spcBef>
              <a:spcAft>
                <a:spcPts val="1000"/>
              </a:spcAft>
              <a:buNone/>
            </a:pPr>
            <a:endParaRPr lang="en-GB" sz="1000" dirty="0">
              <a:solidFill>
                <a:schemeClr val="tx1"/>
              </a:solidFill>
              <a:latin typeface="+mn-lt"/>
            </a:endParaRPr>
          </a:p>
          <a:p>
            <a:pPr marL="0" indent="0">
              <a:spcBef>
                <a:spcPts val="500"/>
              </a:spcBef>
              <a:spcAft>
                <a:spcPts val="1000"/>
              </a:spcAft>
              <a:buNone/>
            </a:pPr>
            <a:endParaRPr lang="en-GB" sz="100" dirty="0">
              <a:solidFill>
                <a:schemeClr val="tx1"/>
              </a:solidFill>
              <a:latin typeface="+mn-lt"/>
            </a:endParaRPr>
          </a:p>
          <a:p>
            <a:pPr marL="0" indent="0">
              <a:spcBef>
                <a:spcPts val="500"/>
              </a:spcBef>
              <a:spcAft>
                <a:spcPts val="1000"/>
              </a:spcAft>
              <a:buNone/>
            </a:pPr>
            <a:r>
              <a:rPr lang="en-GB" sz="1800" dirty="0">
                <a:solidFill>
                  <a:schemeClr val="tx1"/>
                </a:solidFill>
                <a:latin typeface="+mn-lt"/>
              </a:rPr>
              <a:t>Please considering using other resources available including: </a:t>
            </a:r>
            <a:r>
              <a:rPr lang="en-GB" sz="1800" i="1" dirty="0">
                <a:solidFill>
                  <a:schemeClr val="tx1"/>
                </a:solidFill>
                <a:latin typeface="+mn-lt"/>
              </a:rPr>
              <a:t>Advice &amp; Guidance</a:t>
            </a:r>
            <a:r>
              <a:rPr lang="en-GB" sz="1800" dirty="0">
                <a:solidFill>
                  <a:schemeClr val="tx1"/>
                </a:solidFill>
                <a:latin typeface="+mn-lt"/>
              </a:rPr>
              <a:t>, </a:t>
            </a:r>
            <a:r>
              <a:rPr lang="en-GB" sz="1800" i="1" dirty="0">
                <a:solidFill>
                  <a:schemeClr val="tx1"/>
                </a:solidFill>
                <a:latin typeface="+mn-lt"/>
              </a:rPr>
              <a:t>Consultant Connect</a:t>
            </a:r>
            <a:r>
              <a:rPr lang="en-GB" sz="1800" dirty="0">
                <a:solidFill>
                  <a:schemeClr val="tx1"/>
                </a:solidFill>
                <a:latin typeface="+mn-lt"/>
              </a:rPr>
              <a:t> or consider safety netting lower risk patients* pending changes in pathology capacity.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A89656F-9059-EDD0-7A25-15E4E2472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0704" y="271895"/>
            <a:ext cx="5410592" cy="662782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Purpos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C2BCE7-285B-A9F5-61AC-96DAFBB21C9F}"/>
              </a:ext>
            </a:extLst>
          </p:cNvPr>
          <p:cNvSpPr txBox="1"/>
          <p:nvPr/>
        </p:nvSpPr>
        <p:spPr>
          <a:xfrm>
            <a:off x="554293" y="4032593"/>
            <a:ext cx="11083414" cy="119263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indent="0" algn="ctr">
              <a:spcBef>
                <a:spcPts val="500"/>
              </a:spcBef>
              <a:spcAft>
                <a:spcPts val="1000"/>
              </a:spcAft>
              <a:buNone/>
            </a:pPr>
            <a:r>
              <a:rPr lang="en-GB" sz="1900" b="1" dirty="0">
                <a:solidFill>
                  <a:srgbClr val="FF0000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his document does not supplant clinical judgement based on patients’ </a:t>
            </a:r>
            <a:r>
              <a:rPr lang="en-GB" sz="1900" b="1" dirty="0">
                <a:solidFill>
                  <a:srgbClr val="FF0000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background, medical history and clinical presentation. It cannot provide specific guidance on all clinical scenarios in General Practice</a:t>
            </a:r>
            <a:r>
              <a:rPr lang="en-GB" sz="2000" b="1" dirty="0">
                <a:solidFill>
                  <a:srgbClr val="FF0000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0" indent="0" algn="ctr">
              <a:spcBef>
                <a:spcPts val="500"/>
              </a:spcBef>
              <a:spcAft>
                <a:spcPts val="1000"/>
              </a:spcAft>
              <a:buNone/>
            </a:pPr>
            <a:r>
              <a:rPr lang="en-GB" dirty="0">
                <a:solidFill>
                  <a:schemeClr val="tx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en-GB" dirty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t is intended to highlight </a:t>
            </a:r>
            <a:r>
              <a:rPr lang="en-GB" dirty="0">
                <a:solidFill>
                  <a:schemeClr val="tx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evidence-based, best practice </a:t>
            </a:r>
            <a:r>
              <a:rPr lang="en-GB" dirty="0"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recommendations</a:t>
            </a:r>
            <a:r>
              <a:rPr lang="en-GB" dirty="0">
                <a:solidFill>
                  <a:schemeClr val="tx1"/>
                </a:solidFill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D0BBCF-ECDB-D581-0960-5782F94BCD9A}"/>
              </a:ext>
            </a:extLst>
          </p:cNvPr>
          <p:cNvSpPr txBox="1"/>
          <p:nvPr/>
        </p:nvSpPr>
        <p:spPr>
          <a:xfrm>
            <a:off x="5029200" y="6000751"/>
            <a:ext cx="736215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b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*Record that a test is delayed using the Ardens </a:t>
            </a:r>
            <a:r>
              <a:rPr lang="en-GB" sz="1500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‘</a:t>
            </a:r>
            <a:r>
              <a:rPr lang="en-GB" sz="1500" b="1" i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EL test delay protocol and template’</a:t>
            </a:r>
            <a:endParaRPr lang="en-GB" sz="1500" b="1" i="1" dirty="0">
              <a:solidFill>
                <a:srgbClr val="7030A0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9725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486CEB7-CE18-0F33-DA70-290A4929CA2C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xfrm>
            <a:off x="132346" y="1816768"/>
            <a:ext cx="11802979" cy="3735327"/>
          </a:xfr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B5E8C21B-4787-F5CB-BD06-F6256C770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0" y="854242"/>
            <a:ext cx="7524750" cy="878305"/>
          </a:xfrm>
        </p:spPr>
        <p:txBody>
          <a:bodyPr anchor="ctr">
            <a:normAutofit/>
          </a:bodyPr>
          <a:lstStyle/>
          <a:p>
            <a:r>
              <a:rPr lang="en-GB" sz="3800">
                <a:solidFill>
                  <a:schemeClr val="tx1"/>
                </a:solidFill>
                <a:latin typeface="+mn-lt"/>
              </a:rPr>
              <a:t>General principles during this perio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A67FFC-33B6-A6A4-7BA3-01D674CB68D0}"/>
              </a:ext>
            </a:extLst>
          </p:cNvPr>
          <p:cNvSpPr txBox="1"/>
          <p:nvPr/>
        </p:nvSpPr>
        <p:spPr>
          <a:xfrm>
            <a:off x="1092452" y="5819092"/>
            <a:ext cx="105110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hlinkClick r:id="rId4"/>
              </a:rPr>
              <a:t>National Minimum Retesting Intervals in Pathology Guidance, Royal College of Pathologists (March 2021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28378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E1FCE8F4-FDDB-FBAE-6036-3C520B108A51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239676623"/>
              </p:ext>
            </p:extLst>
          </p:nvPr>
        </p:nvGraphicFramePr>
        <p:xfrm>
          <a:off x="2141621" y="661737"/>
          <a:ext cx="7635101" cy="57029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52293001-1652-98DB-A0B1-816EF311E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1621" y="55155"/>
            <a:ext cx="7524521" cy="662782"/>
          </a:xfrm>
        </p:spPr>
        <p:txBody>
          <a:bodyPr/>
          <a:lstStyle/>
          <a:p>
            <a:r>
              <a:rPr lang="en-GB" sz="2600">
                <a:solidFill>
                  <a:schemeClr val="tx1"/>
                </a:solidFill>
              </a:rPr>
              <a:t>Definitions</a:t>
            </a:r>
          </a:p>
        </p:txBody>
      </p:sp>
    </p:spTree>
    <p:extLst>
      <p:ext uri="{BB962C8B-B14F-4D97-AF65-F5344CB8AC3E}">
        <p14:creationId xmlns:p14="http://schemas.microsoft.com/office/powerpoint/2010/main" val="18166366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7DFC2BA2-CAC2-554B-24EE-9FEF3BF0BB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ACED309-484C-DEFA-AA68-DAEE72FB01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2176818"/>
          </a:xfrm>
          <a:custGeom>
            <a:avLst/>
            <a:gdLst>
              <a:gd name="connsiteX0" fmla="*/ 0 w 12192000"/>
              <a:gd name="connsiteY0" fmla="*/ 0 h 2237474"/>
              <a:gd name="connsiteX1" fmla="*/ 12192000 w 12192000"/>
              <a:gd name="connsiteY1" fmla="*/ 0 h 2237474"/>
              <a:gd name="connsiteX2" fmla="*/ 12192000 w 12192000"/>
              <a:gd name="connsiteY2" fmla="*/ 751299 h 2237474"/>
              <a:gd name="connsiteX3" fmla="*/ 12176759 w 12192000"/>
              <a:gd name="connsiteY3" fmla="*/ 759190 h 2237474"/>
              <a:gd name="connsiteX4" fmla="*/ 12154948 w 12192000"/>
              <a:gd name="connsiteY4" fmla="*/ 762731 h 2237474"/>
              <a:gd name="connsiteX5" fmla="*/ 12047364 w 12192000"/>
              <a:gd name="connsiteY5" fmla="*/ 749662 h 2237474"/>
              <a:gd name="connsiteX6" fmla="*/ 11890686 w 12192000"/>
              <a:gd name="connsiteY6" fmla="*/ 732766 h 2237474"/>
              <a:gd name="connsiteX7" fmla="*/ 11782413 w 12192000"/>
              <a:gd name="connsiteY7" fmla="*/ 769868 h 2237474"/>
              <a:gd name="connsiteX8" fmla="*/ 11649954 w 12192000"/>
              <a:gd name="connsiteY8" fmla="*/ 749628 h 2237474"/>
              <a:gd name="connsiteX9" fmla="*/ 11560424 w 12192000"/>
              <a:gd name="connsiteY9" fmla="*/ 748017 h 2237474"/>
              <a:gd name="connsiteX10" fmla="*/ 11358455 w 12192000"/>
              <a:gd name="connsiteY10" fmla="*/ 747593 h 2237474"/>
              <a:gd name="connsiteX11" fmla="*/ 11165209 w 12192000"/>
              <a:gd name="connsiteY11" fmla="*/ 748852 h 2237474"/>
              <a:gd name="connsiteX12" fmla="*/ 11058755 w 12192000"/>
              <a:gd name="connsiteY12" fmla="*/ 749617 h 2237474"/>
              <a:gd name="connsiteX13" fmla="*/ 10884013 w 12192000"/>
              <a:gd name="connsiteY13" fmla="*/ 760728 h 2237474"/>
              <a:gd name="connsiteX14" fmla="*/ 10834688 w 12192000"/>
              <a:gd name="connsiteY14" fmla="*/ 757726 h 2237474"/>
              <a:gd name="connsiteX15" fmla="*/ 10805004 w 12192000"/>
              <a:gd name="connsiteY15" fmla="*/ 757573 h 2237474"/>
              <a:gd name="connsiteX16" fmla="*/ 10739478 w 12192000"/>
              <a:gd name="connsiteY16" fmla="*/ 776841 h 2237474"/>
              <a:gd name="connsiteX17" fmla="*/ 10458762 w 12192000"/>
              <a:gd name="connsiteY17" fmla="*/ 755400 h 2237474"/>
              <a:gd name="connsiteX18" fmla="*/ 10246919 w 12192000"/>
              <a:gd name="connsiteY18" fmla="*/ 769960 h 2237474"/>
              <a:gd name="connsiteX19" fmla="*/ 10167995 w 12192000"/>
              <a:gd name="connsiteY19" fmla="*/ 760843 h 2237474"/>
              <a:gd name="connsiteX20" fmla="*/ 9997044 w 12192000"/>
              <a:gd name="connsiteY20" fmla="*/ 780129 h 2237474"/>
              <a:gd name="connsiteX21" fmla="*/ 9943887 w 12192000"/>
              <a:gd name="connsiteY21" fmla="*/ 804141 h 2237474"/>
              <a:gd name="connsiteX22" fmla="*/ 9918248 w 12192000"/>
              <a:gd name="connsiteY22" fmla="*/ 816628 h 2237474"/>
              <a:gd name="connsiteX23" fmla="*/ 9836148 w 12192000"/>
              <a:gd name="connsiteY23" fmla="*/ 858312 h 2237474"/>
              <a:gd name="connsiteX24" fmla="*/ 9823800 w 12192000"/>
              <a:gd name="connsiteY24" fmla="*/ 866604 h 2237474"/>
              <a:gd name="connsiteX25" fmla="*/ 9794684 w 12192000"/>
              <a:gd name="connsiteY25" fmla="*/ 864509 h 2237474"/>
              <a:gd name="connsiteX26" fmla="*/ 9778288 w 12192000"/>
              <a:gd name="connsiteY26" fmla="*/ 854362 h 2237474"/>
              <a:gd name="connsiteX27" fmla="*/ 9773886 w 12192000"/>
              <a:gd name="connsiteY27" fmla="*/ 857543 h 2237474"/>
              <a:gd name="connsiteX28" fmla="*/ 9761459 w 12192000"/>
              <a:gd name="connsiteY28" fmla="*/ 862394 h 2237474"/>
              <a:gd name="connsiteX29" fmla="*/ 9705768 w 12192000"/>
              <a:gd name="connsiteY29" fmla="*/ 894610 h 2237474"/>
              <a:gd name="connsiteX30" fmla="*/ 9683005 w 12192000"/>
              <a:gd name="connsiteY30" fmla="*/ 894128 h 2237474"/>
              <a:gd name="connsiteX31" fmla="*/ 9594438 w 12192000"/>
              <a:gd name="connsiteY31" fmla="*/ 919051 h 2237474"/>
              <a:gd name="connsiteX32" fmla="*/ 9577033 w 12192000"/>
              <a:gd name="connsiteY32" fmla="*/ 922857 h 2237474"/>
              <a:gd name="connsiteX33" fmla="*/ 9544189 w 12192000"/>
              <a:gd name="connsiteY33" fmla="*/ 938966 h 2237474"/>
              <a:gd name="connsiteX34" fmla="*/ 9534048 w 12192000"/>
              <a:gd name="connsiteY34" fmla="*/ 940158 h 2237474"/>
              <a:gd name="connsiteX35" fmla="*/ 9500499 w 12192000"/>
              <a:gd name="connsiteY35" fmla="*/ 954680 h 2237474"/>
              <a:gd name="connsiteX36" fmla="*/ 9428195 w 12192000"/>
              <a:gd name="connsiteY36" fmla="*/ 986225 h 2237474"/>
              <a:gd name="connsiteX37" fmla="*/ 9410017 w 12192000"/>
              <a:gd name="connsiteY37" fmla="*/ 993931 h 2237474"/>
              <a:gd name="connsiteX38" fmla="*/ 9392919 w 12192000"/>
              <a:gd name="connsiteY38" fmla="*/ 994656 h 2237474"/>
              <a:gd name="connsiteX39" fmla="*/ 9301293 w 12192000"/>
              <a:gd name="connsiteY39" fmla="*/ 1011593 h 2237474"/>
              <a:gd name="connsiteX40" fmla="*/ 9278619 w 12192000"/>
              <a:gd name="connsiteY40" fmla="*/ 1011878 h 2237474"/>
              <a:gd name="connsiteX41" fmla="*/ 9268019 w 12192000"/>
              <a:gd name="connsiteY41" fmla="*/ 1007442 h 2237474"/>
              <a:gd name="connsiteX42" fmla="*/ 9234662 w 12192000"/>
              <a:gd name="connsiteY42" fmla="*/ 1023056 h 2237474"/>
              <a:gd name="connsiteX43" fmla="*/ 9181033 w 12192000"/>
              <a:gd name="connsiteY43" fmla="*/ 1037921 h 2237474"/>
              <a:gd name="connsiteX44" fmla="*/ 9155969 w 12192000"/>
              <a:gd name="connsiteY44" fmla="*/ 1046804 h 2237474"/>
              <a:gd name="connsiteX45" fmla="*/ 9133985 w 12192000"/>
              <a:gd name="connsiteY45" fmla="*/ 1046450 h 2237474"/>
              <a:gd name="connsiteX46" fmla="*/ 9012987 w 12192000"/>
              <a:gd name="connsiteY46" fmla="*/ 1061986 h 2237474"/>
              <a:gd name="connsiteX47" fmla="*/ 8968445 w 12192000"/>
              <a:gd name="connsiteY47" fmla="*/ 1052169 h 2237474"/>
              <a:gd name="connsiteX48" fmla="*/ 8958984 w 12192000"/>
              <a:gd name="connsiteY48" fmla="*/ 1057212 h 2237474"/>
              <a:gd name="connsiteX49" fmla="*/ 8886001 w 12192000"/>
              <a:gd name="connsiteY49" fmla="*/ 1067468 h 2237474"/>
              <a:gd name="connsiteX50" fmla="*/ 8838610 w 12192000"/>
              <a:gd name="connsiteY50" fmla="*/ 1075091 h 2237474"/>
              <a:gd name="connsiteX51" fmla="*/ 8750383 w 12192000"/>
              <a:gd name="connsiteY51" fmla="*/ 1097387 h 2237474"/>
              <a:gd name="connsiteX52" fmla="*/ 8697365 w 12192000"/>
              <a:gd name="connsiteY52" fmla="*/ 1105869 h 2237474"/>
              <a:gd name="connsiteX53" fmla="*/ 8665605 w 12192000"/>
              <a:gd name="connsiteY53" fmla="*/ 1110791 h 2237474"/>
              <a:gd name="connsiteX54" fmla="*/ 8584946 w 12192000"/>
              <a:gd name="connsiteY54" fmla="*/ 1135226 h 2237474"/>
              <a:gd name="connsiteX55" fmla="*/ 8460755 w 12192000"/>
              <a:gd name="connsiteY55" fmla="*/ 1203427 h 2237474"/>
              <a:gd name="connsiteX56" fmla="*/ 8419755 w 12192000"/>
              <a:gd name="connsiteY56" fmla="*/ 1216260 h 2237474"/>
              <a:gd name="connsiteX57" fmla="*/ 8411626 w 12192000"/>
              <a:gd name="connsiteY57" fmla="*/ 1214397 h 2237474"/>
              <a:gd name="connsiteX58" fmla="*/ 8363469 w 12192000"/>
              <a:gd name="connsiteY58" fmla="*/ 1246658 h 2237474"/>
              <a:gd name="connsiteX59" fmla="*/ 8275497 w 12192000"/>
              <a:gd name="connsiteY59" fmla="*/ 1264396 h 2237474"/>
              <a:gd name="connsiteX60" fmla="*/ 8206287 w 12192000"/>
              <a:gd name="connsiteY60" fmla="*/ 1273060 h 2237474"/>
              <a:gd name="connsiteX61" fmla="*/ 8168705 w 12192000"/>
              <a:gd name="connsiteY61" fmla="*/ 1279956 h 2237474"/>
              <a:gd name="connsiteX62" fmla="*/ 8139997 w 12192000"/>
              <a:gd name="connsiteY62" fmla="*/ 1282713 h 2237474"/>
              <a:gd name="connsiteX63" fmla="*/ 8074238 w 12192000"/>
              <a:gd name="connsiteY63" fmla="*/ 1301895 h 2237474"/>
              <a:gd name="connsiteX64" fmla="*/ 7968292 w 12192000"/>
              <a:gd name="connsiteY64" fmla="*/ 1338779 h 2237474"/>
              <a:gd name="connsiteX65" fmla="*/ 7945122 w 12192000"/>
              <a:gd name="connsiteY65" fmla="*/ 1345477 h 2237474"/>
              <a:gd name="connsiteX66" fmla="*/ 7922771 w 12192000"/>
              <a:gd name="connsiteY66" fmla="*/ 1346645 h 2237474"/>
              <a:gd name="connsiteX67" fmla="*/ 7915461 w 12192000"/>
              <a:gd name="connsiteY67" fmla="*/ 1342919 h 2237474"/>
              <a:gd name="connsiteX68" fmla="*/ 7902328 w 12192000"/>
              <a:gd name="connsiteY68" fmla="*/ 1345865 h 2237474"/>
              <a:gd name="connsiteX69" fmla="*/ 7898322 w 12192000"/>
              <a:gd name="connsiteY69" fmla="*/ 1345689 h 2237474"/>
              <a:gd name="connsiteX70" fmla="*/ 7875879 w 12192000"/>
              <a:gd name="connsiteY70" fmla="*/ 1345646 h 2237474"/>
              <a:gd name="connsiteX71" fmla="*/ 7840612 w 12192000"/>
              <a:gd name="connsiteY71" fmla="*/ 1369373 h 2237474"/>
              <a:gd name="connsiteX72" fmla="*/ 7786819 w 12192000"/>
              <a:gd name="connsiteY72" fmla="*/ 1378970 h 2237474"/>
              <a:gd name="connsiteX73" fmla="*/ 7548172 w 12192000"/>
              <a:gd name="connsiteY73" fmla="*/ 1417460 h 2237474"/>
              <a:gd name="connsiteX74" fmla="*/ 7483437 w 12192000"/>
              <a:gd name="connsiteY74" fmla="*/ 1478152 h 2237474"/>
              <a:gd name="connsiteX75" fmla="*/ 7377870 w 12192000"/>
              <a:gd name="connsiteY75" fmla="*/ 1523319 h 2237474"/>
              <a:gd name="connsiteX76" fmla="*/ 7230737 w 12192000"/>
              <a:gd name="connsiteY76" fmla="*/ 1562633 h 2237474"/>
              <a:gd name="connsiteX77" fmla="*/ 7224458 w 12192000"/>
              <a:gd name="connsiteY77" fmla="*/ 1573008 h 2237474"/>
              <a:gd name="connsiteX78" fmla="*/ 7213486 w 12192000"/>
              <a:gd name="connsiteY78" fmla="*/ 1580987 h 2237474"/>
              <a:gd name="connsiteX79" fmla="*/ 7210972 w 12192000"/>
              <a:gd name="connsiteY79" fmla="*/ 1580856 h 2237474"/>
              <a:gd name="connsiteX80" fmla="*/ 7183121 w 12192000"/>
              <a:gd name="connsiteY80" fmla="*/ 1595162 h 2237474"/>
              <a:gd name="connsiteX81" fmla="*/ 7164601 w 12192000"/>
              <a:gd name="connsiteY81" fmla="*/ 1606490 h 2237474"/>
              <a:gd name="connsiteX82" fmla="*/ 7159286 w 12192000"/>
              <a:gd name="connsiteY82" fmla="*/ 1606850 h 2237474"/>
              <a:gd name="connsiteX83" fmla="*/ 7114651 w 12192000"/>
              <a:gd name="connsiteY83" fmla="*/ 1620959 h 2237474"/>
              <a:gd name="connsiteX84" fmla="*/ 7092727 w 12192000"/>
              <a:gd name="connsiteY84" fmla="*/ 1623628 h 2237474"/>
              <a:gd name="connsiteX85" fmla="*/ 7031309 w 12192000"/>
              <a:gd name="connsiteY85" fmla="*/ 1619451 h 2237474"/>
              <a:gd name="connsiteX86" fmla="*/ 6999084 w 12192000"/>
              <a:gd name="connsiteY86" fmla="*/ 1634317 h 2237474"/>
              <a:gd name="connsiteX87" fmla="*/ 6992107 w 12192000"/>
              <a:gd name="connsiteY87" fmla="*/ 1636860 h 2237474"/>
              <a:gd name="connsiteX88" fmla="*/ 6991765 w 12192000"/>
              <a:gd name="connsiteY88" fmla="*/ 1636725 h 2237474"/>
              <a:gd name="connsiteX89" fmla="*/ 6983996 w 12192000"/>
              <a:gd name="connsiteY89" fmla="*/ 1639040 h 2237474"/>
              <a:gd name="connsiteX90" fmla="*/ 6979383 w 12192000"/>
              <a:gd name="connsiteY90" fmla="*/ 1641496 h 2237474"/>
              <a:gd name="connsiteX91" fmla="*/ 6900177 w 12192000"/>
              <a:gd name="connsiteY91" fmla="*/ 1636016 h 2237474"/>
              <a:gd name="connsiteX92" fmla="*/ 6795372 w 12192000"/>
              <a:gd name="connsiteY92" fmla="*/ 1644845 h 2237474"/>
              <a:gd name="connsiteX93" fmla="*/ 6692251 w 12192000"/>
              <a:gd name="connsiteY93" fmla="*/ 1656357 h 2237474"/>
              <a:gd name="connsiteX94" fmla="*/ 6655235 w 12192000"/>
              <a:gd name="connsiteY94" fmla="*/ 1661869 h 2237474"/>
              <a:gd name="connsiteX95" fmla="*/ 6587857 w 12192000"/>
              <a:gd name="connsiteY95" fmla="*/ 1665769 h 2237474"/>
              <a:gd name="connsiteX96" fmla="*/ 6554894 w 12192000"/>
              <a:gd name="connsiteY96" fmla="*/ 1664428 h 2237474"/>
              <a:gd name="connsiteX97" fmla="*/ 6551579 w 12192000"/>
              <a:gd name="connsiteY97" fmla="*/ 1662213 h 2237474"/>
              <a:gd name="connsiteX98" fmla="*/ 6545693 w 12192000"/>
              <a:gd name="connsiteY98" fmla="*/ 1661776 h 2237474"/>
              <a:gd name="connsiteX99" fmla="*/ 6530561 w 12192000"/>
              <a:gd name="connsiteY99" fmla="*/ 1664619 h 2237474"/>
              <a:gd name="connsiteX100" fmla="*/ 6525028 w 12192000"/>
              <a:gd name="connsiteY100" fmla="*/ 1666354 h 2237474"/>
              <a:gd name="connsiteX101" fmla="*/ 6516595 w 12192000"/>
              <a:gd name="connsiteY101" fmla="*/ 1667475 h 2237474"/>
              <a:gd name="connsiteX102" fmla="*/ 6516340 w 12192000"/>
              <a:gd name="connsiteY102" fmla="*/ 1667291 h 2237474"/>
              <a:gd name="connsiteX103" fmla="*/ 6508541 w 12192000"/>
              <a:gd name="connsiteY103" fmla="*/ 1668757 h 2237474"/>
              <a:gd name="connsiteX104" fmla="*/ 6471012 w 12192000"/>
              <a:gd name="connsiteY104" fmla="*/ 1678604 h 2237474"/>
              <a:gd name="connsiteX105" fmla="*/ 6415265 w 12192000"/>
              <a:gd name="connsiteY105" fmla="*/ 1665317 h 2237474"/>
              <a:gd name="connsiteX106" fmla="*/ 6393343 w 12192000"/>
              <a:gd name="connsiteY106" fmla="*/ 1664672 h 2237474"/>
              <a:gd name="connsiteX107" fmla="*/ 6380457 w 12192000"/>
              <a:gd name="connsiteY107" fmla="*/ 1662376 h 2237474"/>
              <a:gd name="connsiteX108" fmla="*/ 6280959 w 12192000"/>
              <a:gd name="connsiteY108" fmla="*/ 1689329 h 2237474"/>
              <a:gd name="connsiteX109" fmla="*/ 6266765 w 12192000"/>
              <a:gd name="connsiteY109" fmla="*/ 1695560 h 2237474"/>
              <a:gd name="connsiteX110" fmla="*/ 6255823 w 12192000"/>
              <a:gd name="connsiteY110" fmla="*/ 1704850 h 2237474"/>
              <a:gd name="connsiteX111" fmla="*/ 6098321 w 12192000"/>
              <a:gd name="connsiteY111" fmla="*/ 1721646 h 2237474"/>
              <a:gd name="connsiteX112" fmla="*/ 5880652 w 12192000"/>
              <a:gd name="connsiteY112" fmla="*/ 1779643 h 2237474"/>
              <a:gd name="connsiteX113" fmla="*/ 5785959 w 12192000"/>
              <a:gd name="connsiteY113" fmla="*/ 1775307 h 2237474"/>
              <a:gd name="connsiteX114" fmla="*/ 5643534 w 12192000"/>
              <a:gd name="connsiteY114" fmla="*/ 1802919 h 2237474"/>
              <a:gd name="connsiteX115" fmla="*/ 5518799 w 12192000"/>
              <a:gd name="connsiteY115" fmla="*/ 1818312 h 2237474"/>
              <a:gd name="connsiteX116" fmla="*/ 5505014 w 12192000"/>
              <a:gd name="connsiteY116" fmla="*/ 1819259 h 2237474"/>
              <a:gd name="connsiteX117" fmla="*/ 5499949 w 12192000"/>
              <a:gd name="connsiteY117" fmla="*/ 1814490 h 2237474"/>
              <a:gd name="connsiteX118" fmla="*/ 5453307 w 12192000"/>
              <a:gd name="connsiteY118" fmla="*/ 1815450 h 2237474"/>
              <a:gd name="connsiteX119" fmla="*/ 5364192 w 12192000"/>
              <a:gd name="connsiteY119" fmla="*/ 1826074 h 2237474"/>
              <a:gd name="connsiteX120" fmla="*/ 5350380 w 12192000"/>
              <a:gd name="connsiteY120" fmla="*/ 1830891 h 2237474"/>
              <a:gd name="connsiteX121" fmla="*/ 5259633 w 12192000"/>
              <a:gd name="connsiteY121" fmla="*/ 1837160 h 2237474"/>
              <a:gd name="connsiteX122" fmla="*/ 5197513 w 12192000"/>
              <a:gd name="connsiteY122" fmla="*/ 1844718 h 2237474"/>
              <a:gd name="connsiteX123" fmla="*/ 5184170 w 12192000"/>
              <a:gd name="connsiteY123" fmla="*/ 1849402 h 2237474"/>
              <a:gd name="connsiteX124" fmla="*/ 5168852 w 12192000"/>
              <a:gd name="connsiteY124" fmla="*/ 1844846 h 2237474"/>
              <a:gd name="connsiteX125" fmla="*/ 5164370 w 12192000"/>
              <a:gd name="connsiteY125" fmla="*/ 1840597 h 2237474"/>
              <a:gd name="connsiteX126" fmla="*/ 5114927 w 12192000"/>
              <a:gd name="connsiteY126" fmla="*/ 1847827 h 2237474"/>
              <a:gd name="connsiteX127" fmla="*/ 5108970 w 12192000"/>
              <a:gd name="connsiteY127" fmla="*/ 1847935 h 2237474"/>
              <a:gd name="connsiteX128" fmla="*/ 5067961 w 12192000"/>
              <a:gd name="connsiteY128" fmla="*/ 1845917 h 2237474"/>
              <a:gd name="connsiteX129" fmla="*/ 5007075 w 12192000"/>
              <a:gd name="connsiteY129" fmla="*/ 1838626 h 2237474"/>
              <a:gd name="connsiteX130" fmla="*/ 4944087 w 12192000"/>
              <a:gd name="connsiteY130" fmla="*/ 1823332 h 2237474"/>
              <a:gd name="connsiteX131" fmla="*/ 4907662 w 12192000"/>
              <a:gd name="connsiteY131" fmla="*/ 1816900 h 2237474"/>
              <a:gd name="connsiteX132" fmla="*/ 4882386 w 12192000"/>
              <a:gd name="connsiteY132" fmla="*/ 1809844 h 2237474"/>
              <a:gd name="connsiteX133" fmla="*/ 4811440 w 12192000"/>
              <a:gd name="connsiteY133" fmla="*/ 1804655 h 2237474"/>
              <a:gd name="connsiteX134" fmla="*/ 4691075 w 12192000"/>
              <a:gd name="connsiteY134" fmla="*/ 1801389 h 2237474"/>
              <a:gd name="connsiteX135" fmla="*/ 4647449 w 12192000"/>
              <a:gd name="connsiteY135" fmla="*/ 1793181 h 2237474"/>
              <a:gd name="connsiteX136" fmla="*/ 4645504 w 12192000"/>
              <a:gd name="connsiteY136" fmla="*/ 1787606 h 2237474"/>
              <a:gd name="connsiteX137" fmla="*/ 4632229 w 12192000"/>
              <a:gd name="connsiteY137" fmla="*/ 1785815 h 2237474"/>
              <a:gd name="connsiteX138" fmla="*/ 4629273 w 12192000"/>
              <a:gd name="connsiteY138" fmla="*/ 1784355 h 2237474"/>
              <a:gd name="connsiteX139" fmla="*/ 4611738 w 12192000"/>
              <a:gd name="connsiteY139" fmla="*/ 1776964 h 2237474"/>
              <a:gd name="connsiteX140" fmla="*/ 4560070 w 12192000"/>
              <a:gd name="connsiteY140" fmla="*/ 1785640 h 2237474"/>
              <a:gd name="connsiteX141" fmla="*/ 4536503 w 12192000"/>
              <a:gd name="connsiteY141" fmla="*/ 1785334 h 2237474"/>
              <a:gd name="connsiteX142" fmla="*/ 4513724 w 12192000"/>
              <a:gd name="connsiteY142" fmla="*/ 1791996 h 2237474"/>
              <a:gd name="connsiteX143" fmla="*/ 4501513 w 12192000"/>
              <a:gd name="connsiteY143" fmla="*/ 1799835 h 2237474"/>
              <a:gd name="connsiteX144" fmla="*/ 4459076 w 12192000"/>
              <a:gd name="connsiteY144" fmla="*/ 1813003 h 2237474"/>
              <a:gd name="connsiteX145" fmla="*/ 4459810 w 12192000"/>
              <a:gd name="connsiteY145" fmla="*/ 1797886 h 2237474"/>
              <a:gd name="connsiteX146" fmla="*/ 4379064 w 12192000"/>
              <a:gd name="connsiteY146" fmla="*/ 1817177 h 2237474"/>
              <a:gd name="connsiteX147" fmla="*/ 4319209 w 12192000"/>
              <a:gd name="connsiteY147" fmla="*/ 1834833 h 2237474"/>
              <a:gd name="connsiteX148" fmla="*/ 4306907 w 12192000"/>
              <a:gd name="connsiteY148" fmla="*/ 1841641 h 2237474"/>
              <a:gd name="connsiteX149" fmla="*/ 4290981 w 12192000"/>
              <a:gd name="connsiteY149" fmla="*/ 1839677 h 2237474"/>
              <a:gd name="connsiteX150" fmla="*/ 4285792 w 12192000"/>
              <a:gd name="connsiteY150" fmla="*/ 1836231 h 2237474"/>
              <a:gd name="connsiteX151" fmla="*/ 4238372 w 12192000"/>
              <a:gd name="connsiteY151" fmla="*/ 1851480 h 2237474"/>
              <a:gd name="connsiteX152" fmla="*/ 4232517 w 12192000"/>
              <a:gd name="connsiteY152" fmla="*/ 1852567 h 2237474"/>
              <a:gd name="connsiteX153" fmla="*/ 4191732 w 12192000"/>
              <a:gd name="connsiteY153" fmla="*/ 1857328 h 2237474"/>
              <a:gd name="connsiteX154" fmla="*/ 4065532 w 12192000"/>
              <a:gd name="connsiteY154" fmla="*/ 1855477 h 2237474"/>
              <a:gd name="connsiteX155" fmla="*/ 4028460 w 12192000"/>
              <a:gd name="connsiteY155" fmla="*/ 1855137 h 2237474"/>
              <a:gd name="connsiteX156" fmla="*/ 4002267 w 12192000"/>
              <a:gd name="connsiteY156" fmla="*/ 1852352 h 2237474"/>
              <a:gd name="connsiteX157" fmla="*/ 3931396 w 12192000"/>
              <a:gd name="connsiteY157" fmla="*/ 1858915 h 2237474"/>
              <a:gd name="connsiteX158" fmla="*/ 3812162 w 12192000"/>
              <a:gd name="connsiteY158" fmla="*/ 1875501 h 2237474"/>
              <a:gd name="connsiteX159" fmla="*/ 3767672 w 12192000"/>
              <a:gd name="connsiteY159" fmla="*/ 1874600 h 2237474"/>
              <a:gd name="connsiteX160" fmla="*/ 3764741 w 12192000"/>
              <a:gd name="connsiteY160" fmla="*/ 1869433 h 2237474"/>
              <a:gd name="connsiteX161" fmla="*/ 3751332 w 12192000"/>
              <a:gd name="connsiteY161" fmla="*/ 1869854 h 2237474"/>
              <a:gd name="connsiteX162" fmla="*/ 3748155 w 12192000"/>
              <a:gd name="connsiteY162" fmla="*/ 1868903 h 2237474"/>
              <a:gd name="connsiteX163" fmla="*/ 3729530 w 12192000"/>
              <a:gd name="connsiteY163" fmla="*/ 1864513 h 2237474"/>
              <a:gd name="connsiteX164" fmla="*/ 3680177 w 12192000"/>
              <a:gd name="connsiteY164" fmla="*/ 1881552 h 2237474"/>
              <a:gd name="connsiteX165" fmla="*/ 3567259 w 12192000"/>
              <a:gd name="connsiteY165" fmla="*/ 1893482 h 2237474"/>
              <a:gd name="connsiteX166" fmla="*/ 3405770 w 12192000"/>
              <a:gd name="connsiteY166" fmla="*/ 1904591 h 2237474"/>
              <a:gd name="connsiteX167" fmla="*/ 3280097 w 12192000"/>
              <a:gd name="connsiteY167" fmla="*/ 1919610 h 2237474"/>
              <a:gd name="connsiteX168" fmla="*/ 3123424 w 12192000"/>
              <a:gd name="connsiteY168" fmla="*/ 1952930 h 2237474"/>
              <a:gd name="connsiteX169" fmla="*/ 3009910 w 12192000"/>
              <a:gd name="connsiteY169" fmla="*/ 1957866 h 2237474"/>
              <a:gd name="connsiteX170" fmla="*/ 2995934 w 12192000"/>
              <a:gd name="connsiteY170" fmla="*/ 1967085 h 2237474"/>
              <a:gd name="connsiteX171" fmla="*/ 2980071 w 12192000"/>
              <a:gd name="connsiteY171" fmla="*/ 1972988 h 2237474"/>
              <a:gd name="connsiteX172" fmla="*/ 2978094 w 12192000"/>
              <a:gd name="connsiteY172" fmla="*/ 1972369 h 2237474"/>
              <a:gd name="connsiteX173" fmla="*/ 2942858 w 12192000"/>
              <a:gd name="connsiteY173" fmla="*/ 1981367 h 2237474"/>
              <a:gd name="connsiteX174" fmla="*/ 2875436 w 12192000"/>
              <a:gd name="connsiteY174" fmla="*/ 1996977 h 2237474"/>
              <a:gd name="connsiteX175" fmla="*/ 2874892 w 12192000"/>
              <a:gd name="connsiteY175" fmla="*/ 1996085 h 2237474"/>
              <a:gd name="connsiteX176" fmla="*/ 2864145 w 12192000"/>
              <a:gd name="connsiteY176" fmla="*/ 1994061 h 2237474"/>
              <a:gd name="connsiteX177" fmla="*/ 2843662 w 12192000"/>
              <a:gd name="connsiteY177" fmla="*/ 1992498 h 2237474"/>
              <a:gd name="connsiteX178" fmla="*/ 2796128 w 12192000"/>
              <a:gd name="connsiteY178" fmla="*/ 1976403 h 2237474"/>
              <a:gd name="connsiteX179" fmla="*/ 2756784 w 12192000"/>
              <a:gd name="connsiteY179" fmla="*/ 1985116 h 2237474"/>
              <a:gd name="connsiteX180" fmla="*/ 2748833 w 12192000"/>
              <a:gd name="connsiteY180" fmla="*/ 1986323 h 2237474"/>
              <a:gd name="connsiteX181" fmla="*/ 2748661 w 12192000"/>
              <a:gd name="connsiteY181" fmla="*/ 1986122 h 2237474"/>
              <a:gd name="connsiteX182" fmla="*/ 2740251 w 12192000"/>
              <a:gd name="connsiteY182" fmla="*/ 1986946 h 2237474"/>
              <a:gd name="connsiteX183" fmla="*/ 2718916 w 12192000"/>
              <a:gd name="connsiteY183" fmla="*/ 1990867 h 2237474"/>
              <a:gd name="connsiteX184" fmla="*/ 2713522 w 12192000"/>
              <a:gd name="connsiteY184" fmla="*/ 1990173 h 2237474"/>
              <a:gd name="connsiteX185" fmla="*/ 2680597 w 12192000"/>
              <a:gd name="connsiteY185" fmla="*/ 1984996 h 2237474"/>
              <a:gd name="connsiteX186" fmla="*/ 2578178 w 12192000"/>
              <a:gd name="connsiteY186" fmla="*/ 1990531 h 2237474"/>
              <a:gd name="connsiteX187" fmla="*/ 2476147 w 12192000"/>
              <a:gd name="connsiteY187" fmla="*/ 1998305 h 2237474"/>
              <a:gd name="connsiteX188" fmla="*/ 2373568 w 12192000"/>
              <a:gd name="connsiteY188" fmla="*/ 2003219 h 2237474"/>
              <a:gd name="connsiteX189" fmla="*/ 2321399 w 12192000"/>
              <a:gd name="connsiteY189" fmla="*/ 1989467 h 2237474"/>
              <a:gd name="connsiteX190" fmla="*/ 2315525 w 12192000"/>
              <a:gd name="connsiteY190" fmla="*/ 1989708 h 2237474"/>
              <a:gd name="connsiteX191" fmla="*/ 2300792 w 12192000"/>
              <a:gd name="connsiteY191" fmla="*/ 1994290 h 2237474"/>
              <a:gd name="connsiteX192" fmla="*/ 2295469 w 12192000"/>
              <a:gd name="connsiteY192" fmla="*/ 1996659 h 2237474"/>
              <a:gd name="connsiteX193" fmla="*/ 2287219 w 12192000"/>
              <a:gd name="connsiteY193" fmla="*/ 1998750 h 2237474"/>
              <a:gd name="connsiteX194" fmla="*/ 2286948 w 12192000"/>
              <a:gd name="connsiteY194" fmla="*/ 1998596 h 2237474"/>
              <a:gd name="connsiteX195" fmla="*/ 2243069 w 12192000"/>
              <a:gd name="connsiteY195" fmla="*/ 2015111 h 2237474"/>
              <a:gd name="connsiteX196" fmla="*/ 2186609 w 12192000"/>
              <a:gd name="connsiteY196" fmla="*/ 2008263 h 2237474"/>
              <a:gd name="connsiteX197" fmla="*/ 2164831 w 12192000"/>
              <a:gd name="connsiteY197" fmla="*/ 2010143 h 2237474"/>
              <a:gd name="connsiteX198" fmla="*/ 2152836 w 12192000"/>
              <a:gd name="connsiteY198" fmla="*/ 2010048 h 2237474"/>
              <a:gd name="connsiteX199" fmla="*/ 2117102 w 12192000"/>
              <a:gd name="connsiteY199" fmla="*/ 2023004 h 2237474"/>
              <a:gd name="connsiteX200" fmla="*/ 2111935 w 12192000"/>
              <a:gd name="connsiteY200" fmla="*/ 2023163 h 2237474"/>
              <a:gd name="connsiteX201" fmla="*/ 2089991 w 12192000"/>
              <a:gd name="connsiteY201" fmla="*/ 2034193 h 2237474"/>
              <a:gd name="connsiteX202" fmla="*/ 2058061 w 12192000"/>
              <a:gd name="connsiteY202" fmla="*/ 2047942 h 2237474"/>
              <a:gd name="connsiteX203" fmla="*/ 2055737 w 12192000"/>
              <a:gd name="connsiteY203" fmla="*/ 2047704 h 2237474"/>
              <a:gd name="connsiteX204" fmla="*/ 2042244 w 12192000"/>
              <a:gd name="connsiteY204" fmla="*/ 2055560 h 2237474"/>
              <a:gd name="connsiteX205" fmla="*/ 1976224 w 12192000"/>
              <a:gd name="connsiteY205" fmla="*/ 2074257 h 2237474"/>
              <a:gd name="connsiteX206" fmla="*/ 1877728 w 12192000"/>
              <a:gd name="connsiteY206" fmla="*/ 2101004 h 2237474"/>
              <a:gd name="connsiteX207" fmla="*/ 1759056 w 12192000"/>
              <a:gd name="connsiteY207" fmla="*/ 2125608 h 2237474"/>
              <a:gd name="connsiteX208" fmla="*/ 1637948 w 12192000"/>
              <a:gd name="connsiteY208" fmla="*/ 2172597 h 2237474"/>
              <a:gd name="connsiteX209" fmla="*/ 1434549 w 12192000"/>
              <a:gd name="connsiteY209" fmla="*/ 2234522 h 2237474"/>
              <a:gd name="connsiteX210" fmla="*/ 1398481 w 12192000"/>
              <a:gd name="connsiteY210" fmla="*/ 2237074 h 2237474"/>
              <a:gd name="connsiteX211" fmla="*/ 1398407 w 12192000"/>
              <a:gd name="connsiteY211" fmla="*/ 2237095 h 2237474"/>
              <a:gd name="connsiteX212" fmla="*/ 1370962 w 12192000"/>
              <a:gd name="connsiteY212" fmla="*/ 2237474 h 2237474"/>
              <a:gd name="connsiteX213" fmla="*/ 1356367 w 12192000"/>
              <a:gd name="connsiteY213" fmla="*/ 2235089 h 2237474"/>
              <a:gd name="connsiteX214" fmla="*/ 1324828 w 12192000"/>
              <a:gd name="connsiteY214" fmla="*/ 2231968 h 2237474"/>
              <a:gd name="connsiteX215" fmla="*/ 1297744 w 12192000"/>
              <a:gd name="connsiteY215" fmla="*/ 2235849 h 2237474"/>
              <a:gd name="connsiteX216" fmla="*/ 1286236 w 12192000"/>
              <a:gd name="connsiteY216" fmla="*/ 2233135 h 2237474"/>
              <a:gd name="connsiteX217" fmla="*/ 1283504 w 12192000"/>
              <a:gd name="connsiteY217" fmla="*/ 2233797 h 2237474"/>
              <a:gd name="connsiteX218" fmla="*/ 1279765 w 12192000"/>
              <a:gd name="connsiteY218" fmla="*/ 2229639 h 2237474"/>
              <a:gd name="connsiteX219" fmla="*/ 1195347 w 12192000"/>
              <a:gd name="connsiteY219" fmla="*/ 2212354 h 2237474"/>
              <a:gd name="connsiteX220" fmla="*/ 970251 w 12192000"/>
              <a:gd name="connsiteY220" fmla="*/ 2221029 h 2237474"/>
              <a:gd name="connsiteX221" fmla="*/ 812914 w 12192000"/>
              <a:gd name="connsiteY221" fmla="*/ 2202752 h 2237474"/>
              <a:gd name="connsiteX222" fmla="*/ 800195 w 12192000"/>
              <a:gd name="connsiteY222" fmla="*/ 2209407 h 2237474"/>
              <a:gd name="connsiteX223" fmla="*/ 784978 w 12192000"/>
              <a:gd name="connsiteY223" fmla="*/ 2212360 h 2237474"/>
              <a:gd name="connsiteX224" fmla="*/ 681987 w 12192000"/>
              <a:gd name="connsiteY224" fmla="*/ 2216757 h 2237474"/>
              <a:gd name="connsiteX225" fmla="*/ 669923 w 12192000"/>
              <a:gd name="connsiteY225" fmla="*/ 2211682 h 2237474"/>
              <a:gd name="connsiteX226" fmla="*/ 648680 w 12192000"/>
              <a:gd name="connsiteY226" fmla="*/ 2206229 h 2237474"/>
              <a:gd name="connsiteX227" fmla="*/ 597225 w 12192000"/>
              <a:gd name="connsiteY227" fmla="*/ 2180999 h 2237474"/>
              <a:gd name="connsiteX228" fmla="*/ 558449 w 12192000"/>
              <a:gd name="connsiteY228" fmla="*/ 2182346 h 2237474"/>
              <a:gd name="connsiteX229" fmla="*/ 550517 w 12192000"/>
              <a:gd name="connsiteY229" fmla="*/ 2182060 h 2237474"/>
              <a:gd name="connsiteX230" fmla="*/ 550309 w 12192000"/>
              <a:gd name="connsiteY230" fmla="*/ 2181825 h 2237474"/>
              <a:gd name="connsiteX231" fmla="*/ 541836 w 12192000"/>
              <a:gd name="connsiteY231" fmla="*/ 2181063 h 2237474"/>
              <a:gd name="connsiteX232" fmla="*/ 536057 w 12192000"/>
              <a:gd name="connsiteY232" fmla="*/ 2181537 h 2237474"/>
              <a:gd name="connsiteX233" fmla="*/ 520671 w 12192000"/>
              <a:gd name="connsiteY233" fmla="*/ 2180980 h 2237474"/>
              <a:gd name="connsiteX234" fmla="*/ 515024 w 12192000"/>
              <a:gd name="connsiteY234" fmla="*/ 2179258 h 2237474"/>
              <a:gd name="connsiteX235" fmla="*/ 512278 w 12192000"/>
              <a:gd name="connsiteY235" fmla="*/ 2176369 h 2237474"/>
              <a:gd name="connsiteX236" fmla="*/ 480419 w 12192000"/>
              <a:gd name="connsiteY236" fmla="*/ 2167807 h 2237474"/>
              <a:gd name="connsiteX237" fmla="*/ 413835 w 12192000"/>
              <a:gd name="connsiteY237" fmla="*/ 2156783 h 2237474"/>
              <a:gd name="connsiteX238" fmla="*/ 376513 w 12192000"/>
              <a:gd name="connsiteY238" fmla="*/ 2154014 h 2237474"/>
              <a:gd name="connsiteX239" fmla="*/ 273386 w 12192000"/>
              <a:gd name="connsiteY239" fmla="*/ 2142551 h 2237474"/>
              <a:gd name="connsiteX240" fmla="*/ 169207 w 12192000"/>
              <a:gd name="connsiteY240" fmla="*/ 2128100 h 2237474"/>
              <a:gd name="connsiteX241" fmla="*/ 93149 w 12192000"/>
              <a:gd name="connsiteY241" fmla="*/ 2105324 h 2237474"/>
              <a:gd name="connsiteX242" fmla="*/ 88109 w 12192000"/>
              <a:gd name="connsiteY242" fmla="*/ 2106704 h 2237474"/>
              <a:gd name="connsiteX243" fmla="*/ 80022 w 12192000"/>
              <a:gd name="connsiteY243" fmla="*/ 2107254 h 2237474"/>
              <a:gd name="connsiteX244" fmla="*/ 79717 w 12192000"/>
              <a:gd name="connsiteY244" fmla="*/ 2107046 h 2237474"/>
              <a:gd name="connsiteX245" fmla="*/ 72352 w 12192000"/>
              <a:gd name="connsiteY245" fmla="*/ 2107991 h 2237474"/>
              <a:gd name="connsiteX246" fmla="*/ 37645 w 12192000"/>
              <a:gd name="connsiteY246" fmla="*/ 2115401 h 2237474"/>
              <a:gd name="connsiteX247" fmla="*/ 4572 w 12192000"/>
              <a:gd name="connsiteY247" fmla="*/ 2111091 h 2237474"/>
              <a:gd name="connsiteX248" fmla="*/ 0 w 12192000"/>
              <a:gd name="connsiteY248" fmla="*/ 2110468 h 2237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12192000" h="2237474">
                <a:moveTo>
                  <a:pt x="0" y="0"/>
                </a:moveTo>
                <a:lnTo>
                  <a:pt x="12192000" y="0"/>
                </a:lnTo>
                <a:lnTo>
                  <a:pt x="12192000" y="751299"/>
                </a:lnTo>
                <a:lnTo>
                  <a:pt x="12176759" y="759190"/>
                </a:lnTo>
                <a:cubicBezTo>
                  <a:pt x="12165968" y="763819"/>
                  <a:pt x="12157853" y="765770"/>
                  <a:pt x="12154948" y="762731"/>
                </a:cubicBezTo>
                <a:cubicBezTo>
                  <a:pt x="12116503" y="759396"/>
                  <a:pt x="12073342" y="763579"/>
                  <a:pt x="12047364" y="749662"/>
                </a:cubicBezTo>
                <a:cubicBezTo>
                  <a:pt x="12041261" y="730599"/>
                  <a:pt x="11914319" y="741909"/>
                  <a:pt x="11890686" y="732766"/>
                </a:cubicBezTo>
                <a:cubicBezTo>
                  <a:pt x="11832408" y="747890"/>
                  <a:pt x="11815359" y="777569"/>
                  <a:pt x="11782413" y="769868"/>
                </a:cubicBezTo>
                <a:cubicBezTo>
                  <a:pt x="11760031" y="763594"/>
                  <a:pt x="11675205" y="777151"/>
                  <a:pt x="11649954" y="749628"/>
                </a:cubicBezTo>
                <a:cubicBezTo>
                  <a:pt x="11608286" y="767874"/>
                  <a:pt x="11593031" y="740811"/>
                  <a:pt x="11560424" y="748017"/>
                </a:cubicBezTo>
                <a:cubicBezTo>
                  <a:pt x="11488916" y="747650"/>
                  <a:pt x="11449669" y="773362"/>
                  <a:pt x="11358455" y="747593"/>
                </a:cubicBezTo>
                <a:cubicBezTo>
                  <a:pt x="11316233" y="754756"/>
                  <a:pt x="11256313" y="713012"/>
                  <a:pt x="11165209" y="748852"/>
                </a:cubicBezTo>
                <a:cubicBezTo>
                  <a:pt x="11113345" y="753539"/>
                  <a:pt x="11140250" y="736122"/>
                  <a:pt x="11058755" y="749617"/>
                </a:cubicBezTo>
                <a:cubicBezTo>
                  <a:pt x="11036836" y="722990"/>
                  <a:pt x="10909903" y="759211"/>
                  <a:pt x="10884013" y="760728"/>
                </a:cubicBezTo>
                <a:cubicBezTo>
                  <a:pt x="10864519" y="743356"/>
                  <a:pt x="10853492" y="756172"/>
                  <a:pt x="10834688" y="757726"/>
                </a:cubicBezTo>
                <a:cubicBezTo>
                  <a:pt x="10826871" y="747343"/>
                  <a:pt x="10811086" y="746602"/>
                  <a:pt x="10805004" y="757573"/>
                </a:cubicBezTo>
                <a:cubicBezTo>
                  <a:pt x="10810951" y="784448"/>
                  <a:pt x="10744688" y="759043"/>
                  <a:pt x="10739478" y="776841"/>
                </a:cubicBezTo>
                <a:cubicBezTo>
                  <a:pt x="10678284" y="779408"/>
                  <a:pt x="10540854" y="756546"/>
                  <a:pt x="10458762" y="755400"/>
                </a:cubicBezTo>
                <a:cubicBezTo>
                  <a:pt x="10426976" y="747433"/>
                  <a:pt x="10362961" y="776166"/>
                  <a:pt x="10246919" y="769960"/>
                </a:cubicBezTo>
                <a:cubicBezTo>
                  <a:pt x="10231631" y="763610"/>
                  <a:pt x="10172943" y="749095"/>
                  <a:pt x="10167995" y="760843"/>
                </a:cubicBezTo>
                <a:cubicBezTo>
                  <a:pt x="10131971" y="759999"/>
                  <a:pt x="10021683" y="796978"/>
                  <a:pt x="9997044" y="780129"/>
                </a:cubicBezTo>
                <a:cubicBezTo>
                  <a:pt x="10001018" y="806225"/>
                  <a:pt x="9951331" y="779975"/>
                  <a:pt x="9943887" y="804141"/>
                </a:cubicBezTo>
                <a:lnTo>
                  <a:pt x="9918248" y="816628"/>
                </a:lnTo>
                <a:lnTo>
                  <a:pt x="9836148" y="858312"/>
                </a:lnTo>
                <a:lnTo>
                  <a:pt x="9823800" y="866604"/>
                </a:lnTo>
                <a:lnTo>
                  <a:pt x="9794684" y="864509"/>
                </a:lnTo>
                <a:lnTo>
                  <a:pt x="9778288" y="854362"/>
                </a:lnTo>
                <a:lnTo>
                  <a:pt x="9773886" y="857543"/>
                </a:lnTo>
                <a:cubicBezTo>
                  <a:pt x="9769008" y="863842"/>
                  <a:pt x="9766501" y="867741"/>
                  <a:pt x="9761459" y="862394"/>
                </a:cubicBezTo>
                <a:lnTo>
                  <a:pt x="9705768" y="894610"/>
                </a:lnTo>
                <a:cubicBezTo>
                  <a:pt x="9699860" y="897215"/>
                  <a:pt x="9692576" y="897590"/>
                  <a:pt x="9683005" y="894128"/>
                </a:cubicBezTo>
                <a:cubicBezTo>
                  <a:pt x="9664449" y="898200"/>
                  <a:pt x="9612100" y="914263"/>
                  <a:pt x="9594438" y="919051"/>
                </a:cubicBezTo>
                <a:lnTo>
                  <a:pt x="9577033" y="922857"/>
                </a:lnTo>
                <a:cubicBezTo>
                  <a:pt x="9568659" y="926175"/>
                  <a:pt x="9551353" y="936082"/>
                  <a:pt x="9544189" y="938966"/>
                </a:cubicBezTo>
                <a:cubicBezTo>
                  <a:pt x="9538380" y="940584"/>
                  <a:pt x="9541329" y="937538"/>
                  <a:pt x="9534048" y="940158"/>
                </a:cubicBezTo>
                <a:cubicBezTo>
                  <a:pt x="9533709" y="946069"/>
                  <a:pt x="9530854" y="951684"/>
                  <a:pt x="9500499" y="954680"/>
                </a:cubicBezTo>
                <a:cubicBezTo>
                  <a:pt x="9481230" y="968165"/>
                  <a:pt x="9456325" y="979029"/>
                  <a:pt x="9428195" y="986225"/>
                </a:cubicBezTo>
                <a:cubicBezTo>
                  <a:pt x="9422499" y="981315"/>
                  <a:pt x="9414660" y="991352"/>
                  <a:pt x="9410017" y="993931"/>
                </a:cubicBezTo>
                <a:cubicBezTo>
                  <a:pt x="9408360" y="990327"/>
                  <a:pt x="9395782" y="990863"/>
                  <a:pt x="9392919" y="994656"/>
                </a:cubicBezTo>
                <a:cubicBezTo>
                  <a:pt x="9310581" y="1024474"/>
                  <a:pt x="9345163" y="981210"/>
                  <a:pt x="9301293" y="1011593"/>
                </a:cubicBezTo>
                <a:cubicBezTo>
                  <a:pt x="9292916" y="1014346"/>
                  <a:pt x="9285483" y="1013807"/>
                  <a:pt x="9278619" y="1011878"/>
                </a:cubicBezTo>
                <a:lnTo>
                  <a:pt x="9268019" y="1007442"/>
                </a:lnTo>
                <a:lnTo>
                  <a:pt x="9234662" y="1023056"/>
                </a:lnTo>
                <a:cubicBezTo>
                  <a:pt x="9217868" y="1029197"/>
                  <a:pt x="9199852" y="1034202"/>
                  <a:pt x="9181033" y="1037921"/>
                </a:cubicBezTo>
                <a:cubicBezTo>
                  <a:pt x="9174974" y="1030923"/>
                  <a:pt x="9162516" y="1043719"/>
                  <a:pt x="9155969" y="1046804"/>
                </a:cubicBezTo>
                <a:cubicBezTo>
                  <a:pt x="9154734" y="1041866"/>
                  <a:pt x="9138567" y="1041606"/>
                  <a:pt x="9133985" y="1046450"/>
                </a:cubicBezTo>
                <a:cubicBezTo>
                  <a:pt x="9021681" y="1079910"/>
                  <a:pt x="9076377" y="1024799"/>
                  <a:pt x="9012987" y="1061986"/>
                </a:cubicBezTo>
                <a:lnTo>
                  <a:pt x="8968445" y="1052169"/>
                </a:lnTo>
                <a:lnTo>
                  <a:pt x="8958984" y="1057212"/>
                </a:lnTo>
                <a:cubicBezTo>
                  <a:pt x="8920115" y="1062770"/>
                  <a:pt x="8906181" y="1053838"/>
                  <a:pt x="8886001" y="1067468"/>
                </a:cubicBezTo>
                <a:cubicBezTo>
                  <a:pt x="8847384" y="1050046"/>
                  <a:pt x="8863283" y="1068286"/>
                  <a:pt x="8838610" y="1075091"/>
                </a:cubicBezTo>
                <a:cubicBezTo>
                  <a:pt x="8816007" y="1080079"/>
                  <a:pt x="8773923" y="1092257"/>
                  <a:pt x="8750383" y="1097387"/>
                </a:cubicBezTo>
                <a:cubicBezTo>
                  <a:pt x="8735450" y="1116502"/>
                  <a:pt x="8721220" y="1097372"/>
                  <a:pt x="8697365" y="1105869"/>
                </a:cubicBezTo>
                <a:cubicBezTo>
                  <a:pt x="8687037" y="1113735"/>
                  <a:pt x="8678781" y="1115961"/>
                  <a:pt x="8665605" y="1110791"/>
                </a:cubicBezTo>
                <a:cubicBezTo>
                  <a:pt x="8618410" y="1148662"/>
                  <a:pt x="8633049" y="1116609"/>
                  <a:pt x="8584946" y="1135226"/>
                </a:cubicBezTo>
                <a:cubicBezTo>
                  <a:pt x="8544020" y="1153499"/>
                  <a:pt x="8496232" y="1168229"/>
                  <a:pt x="8460755" y="1203427"/>
                </a:cubicBezTo>
                <a:cubicBezTo>
                  <a:pt x="8454928" y="1212828"/>
                  <a:pt x="8436573" y="1218574"/>
                  <a:pt x="8419755" y="1216260"/>
                </a:cubicBezTo>
                <a:cubicBezTo>
                  <a:pt x="8416861" y="1215863"/>
                  <a:pt x="8414124" y="1215234"/>
                  <a:pt x="8411626" y="1214397"/>
                </a:cubicBezTo>
                <a:cubicBezTo>
                  <a:pt x="8391326" y="1238641"/>
                  <a:pt x="8371389" y="1231045"/>
                  <a:pt x="8363469" y="1246658"/>
                </a:cubicBezTo>
                <a:cubicBezTo>
                  <a:pt x="8322316" y="1258746"/>
                  <a:pt x="8283162" y="1250600"/>
                  <a:pt x="8275497" y="1264396"/>
                </a:cubicBezTo>
                <a:cubicBezTo>
                  <a:pt x="8253233" y="1266996"/>
                  <a:pt x="8218383" y="1257577"/>
                  <a:pt x="8206287" y="1273060"/>
                </a:cubicBezTo>
                <a:cubicBezTo>
                  <a:pt x="8200396" y="1262794"/>
                  <a:pt x="8183827" y="1285000"/>
                  <a:pt x="8168705" y="1279956"/>
                </a:cubicBezTo>
                <a:cubicBezTo>
                  <a:pt x="8157611" y="1275235"/>
                  <a:pt x="8149996" y="1280870"/>
                  <a:pt x="8139997" y="1282713"/>
                </a:cubicBezTo>
                <a:cubicBezTo>
                  <a:pt x="8125566" y="1279776"/>
                  <a:pt x="8084128" y="1294221"/>
                  <a:pt x="8074238" y="1301895"/>
                </a:cubicBezTo>
                <a:cubicBezTo>
                  <a:pt x="8052170" y="1326903"/>
                  <a:pt x="7986951" y="1319381"/>
                  <a:pt x="7968292" y="1338779"/>
                </a:cubicBezTo>
                <a:cubicBezTo>
                  <a:pt x="7960694" y="1342282"/>
                  <a:pt x="7952937" y="1344333"/>
                  <a:pt x="7945122" y="1345477"/>
                </a:cubicBezTo>
                <a:lnTo>
                  <a:pt x="7922771" y="1346645"/>
                </a:lnTo>
                <a:lnTo>
                  <a:pt x="7915461" y="1342919"/>
                </a:lnTo>
                <a:lnTo>
                  <a:pt x="7902328" y="1345865"/>
                </a:lnTo>
                <a:lnTo>
                  <a:pt x="7898322" y="1345689"/>
                </a:lnTo>
                <a:lnTo>
                  <a:pt x="7875879" y="1345646"/>
                </a:lnTo>
                <a:cubicBezTo>
                  <a:pt x="7890672" y="1367295"/>
                  <a:pt x="7816428" y="1353520"/>
                  <a:pt x="7840612" y="1369373"/>
                </a:cubicBezTo>
                <a:cubicBezTo>
                  <a:pt x="7803208" y="1375918"/>
                  <a:pt x="7836041" y="1389289"/>
                  <a:pt x="7786819" y="1378970"/>
                </a:cubicBezTo>
                <a:cubicBezTo>
                  <a:pt x="7732613" y="1405648"/>
                  <a:pt x="7587405" y="1382806"/>
                  <a:pt x="7548172" y="1417460"/>
                </a:cubicBezTo>
                <a:cubicBezTo>
                  <a:pt x="7551327" y="1405830"/>
                  <a:pt x="7499280" y="1470447"/>
                  <a:pt x="7483437" y="1478152"/>
                </a:cubicBezTo>
                <a:cubicBezTo>
                  <a:pt x="7446517" y="1491067"/>
                  <a:pt x="7432754" y="1502351"/>
                  <a:pt x="7377870" y="1523319"/>
                </a:cubicBezTo>
                <a:cubicBezTo>
                  <a:pt x="7324166" y="1536168"/>
                  <a:pt x="7290459" y="1563749"/>
                  <a:pt x="7230737" y="1562633"/>
                </a:cubicBezTo>
                <a:cubicBezTo>
                  <a:pt x="7229794" y="1566487"/>
                  <a:pt x="7227568" y="1569908"/>
                  <a:pt x="7224458" y="1573008"/>
                </a:cubicBezTo>
                <a:lnTo>
                  <a:pt x="7213486" y="1580987"/>
                </a:lnTo>
                <a:lnTo>
                  <a:pt x="7210972" y="1580856"/>
                </a:lnTo>
                <a:lnTo>
                  <a:pt x="7183121" y="1595162"/>
                </a:lnTo>
                <a:lnTo>
                  <a:pt x="7164601" y="1606490"/>
                </a:lnTo>
                <a:lnTo>
                  <a:pt x="7159286" y="1606850"/>
                </a:lnTo>
                <a:cubicBezTo>
                  <a:pt x="7150961" y="1609262"/>
                  <a:pt x="7125743" y="1618162"/>
                  <a:pt x="7114651" y="1620959"/>
                </a:cubicBezTo>
                <a:cubicBezTo>
                  <a:pt x="7109310" y="1606138"/>
                  <a:pt x="7106695" y="1617324"/>
                  <a:pt x="7092727" y="1623628"/>
                </a:cubicBezTo>
                <a:cubicBezTo>
                  <a:pt x="7081313" y="1602012"/>
                  <a:pt x="7049394" y="1627301"/>
                  <a:pt x="7031309" y="1619451"/>
                </a:cubicBezTo>
                <a:cubicBezTo>
                  <a:pt x="7021305" y="1624569"/>
                  <a:pt x="7010515" y="1629587"/>
                  <a:pt x="6999084" y="1634317"/>
                </a:cubicBezTo>
                <a:lnTo>
                  <a:pt x="6992107" y="1636860"/>
                </a:lnTo>
                <a:lnTo>
                  <a:pt x="6991765" y="1636725"/>
                </a:lnTo>
                <a:cubicBezTo>
                  <a:pt x="6989813" y="1636884"/>
                  <a:pt x="6987353" y="1637572"/>
                  <a:pt x="6983996" y="1639040"/>
                </a:cubicBezTo>
                <a:lnTo>
                  <a:pt x="6979383" y="1641496"/>
                </a:lnTo>
                <a:lnTo>
                  <a:pt x="6900177" y="1636016"/>
                </a:lnTo>
                <a:cubicBezTo>
                  <a:pt x="6859708" y="1641136"/>
                  <a:pt x="6829973" y="1628753"/>
                  <a:pt x="6795372" y="1644845"/>
                </a:cubicBezTo>
                <a:cubicBezTo>
                  <a:pt x="6757466" y="1649571"/>
                  <a:pt x="6723150" y="1647290"/>
                  <a:pt x="6692251" y="1656357"/>
                </a:cubicBezTo>
                <a:cubicBezTo>
                  <a:pt x="6678032" y="1652894"/>
                  <a:pt x="6665282" y="1652445"/>
                  <a:pt x="6655235" y="1661869"/>
                </a:cubicBezTo>
                <a:cubicBezTo>
                  <a:pt x="6619334" y="1664040"/>
                  <a:pt x="6608179" y="1654034"/>
                  <a:pt x="6587857" y="1665769"/>
                </a:cubicBezTo>
                <a:lnTo>
                  <a:pt x="6554894" y="1664428"/>
                </a:lnTo>
                <a:lnTo>
                  <a:pt x="6551579" y="1662213"/>
                </a:lnTo>
                <a:lnTo>
                  <a:pt x="6545693" y="1661776"/>
                </a:lnTo>
                <a:lnTo>
                  <a:pt x="6530561" y="1664619"/>
                </a:lnTo>
                <a:lnTo>
                  <a:pt x="6525028" y="1666354"/>
                </a:lnTo>
                <a:cubicBezTo>
                  <a:pt x="6521154" y="1667301"/>
                  <a:pt x="6518510" y="1667613"/>
                  <a:pt x="6516595" y="1667475"/>
                </a:cubicBezTo>
                <a:lnTo>
                  <a:pt x="6516340" y="1667291"/>
                </a:lnTo>
                <a:lnTo>
                  <a:pt x="6508541" y="1668757"/>
                </a:lnTo>
                <a:cubicBezTo>
                  <a:pt x="6495493" y="1671715"/>
                  <a:pt x="6482908" y="1675051"/>
                  <a:pt x="6471012" y="1678604"/>
                </a:cubicBezTo>
                <a:cubicBezTo>
                  <a:pt x="6457809" y="1668164"/>
                  <a:pt x="6415506" y="1688334"/>
                  <a:pt x="6415265" y="1665317"/>
                </a:cubicBezTo>
                <a:cubicBezTo>
                  <a:pt x="6399063" y="1669446"/>
                  <a:pt x="6391173" y="1680085"/>
                  <a:pt x="6393343" y="1664672"/>
                </a:cubicBezTo>
                <a:lnTo>
                  <a:pt x="6380457" y="1662376"/>
                </a:lnTo>
                <a:lnTo>
                  <a:pt x="6280959" y="1689329"/>
                </a:lnTo>
                <a:lnTo>
                  <a:pt x="6266765" y="1695560"/>
                </a:lnTo>
                <a:cubicBezTo>
                  <a:pt x="6262331" y="1698152"/>
                  <a:pt x="6258580" y="1701192"/>
                  <a:pt x="6255823" y="1704850"/>
                </a:cubicBezTo>
                <a:cubicBezTo>
                  <a:pt x="6200184" y="1694834"/>
                  <a:pt x="6155082" y="1716996"/>
                  <a:pt x="6098321" y="1721646"/>
                </a:cubicBezTo>
                <a:cubicBezTo>
                  <a:pt x="6036511" y="1734126"/>
                  <a:pt x="5902526" y="1770074"/>
                  <a:pt x="5880652" y="1779643"/>
                </a:cubicBezTo>
                <a:cubicBezTo>
                  <a:pt x="5862008" y="1784877"/>
                  <a:pt x="5777344" y="1786304"/>
                  <a:pt x="5785959" y="1775307"/>
                </a:cubicBezTo>
                <a:cubicBezTo>
                  <a:pt x="5732223" y="1803618"/>
                  <a:pt x="5707481" y="1784706"/>
                  <a:pt x="5643534" y="1802919"/>
                </a:cubicBezTo>
                <a:lnTo>
                  <a:pt x="5518799" y="1818312"/>
                </a:lnTo>
                <a:lnTo>
                  <a:pt x="5505014" y="1819259"/>
                </a:lnTo>
                <a:lnTo>
                  <a:pt x="5499949" y="1814490"/>
                </a:lnTo>
                <a:lnTo>
                  <a:pt x="5453307" y="1815450"/>
                </a:lnTo>
                <a:cubicBezTo>
                  <a:pt x="5433075" y="1827706"/>
                  <a:pt x="5395563" y="1821122"/>
                  <a:pt x="5364192" y="1826074"/>
                </a:cubicBezTo>
                <a:lnTo>
                  <a:pt x="5350380" y="1830891"/>
                </a:lnTo>
                <a:lnTo>
                  <a:pt x="5259633" y="1837160"/>
                </a:lnTo>
                <a:lnTo>
                  <a:pt x="5197513" y="1844718"/>
                </a:lnTo>
                <a:lnTo>
                  <a:pt x="5184170" y="1849402"/>
                </a:lnTo>
                <a:lnTo>
                  <a:pt x="5168852" y="1844846"/>
                </a:lnTo>
                <a:cubicBezTo>
                  <a:pt x="5166986" y="1843561"/>
                  <a:pt x="5165478" y="1842127"/>
                  <a:pt x="5164370" y="1840597"/>
                </a:cubicBezTo>
                <a:lnTo>
                  <a:pt x="5114927" y="1847827"/>
                </a:lnTo>
                <a:lnTo>
                  <a:pt x="5108970" y="1847935"/>
                </a:lnTo>
                <a:lnTo>
                  <a:pt x="5067961" y="1845917"/>
                </a:lnTo>
                <a:lnTo>
                  <a:pt x="5007075" y="1838626"/>
                </a:lnTo>
                <a:cubicBezTo>
                  <a:pt x="4987003" y="1833546"/>
                  <a:pt x="4969259" y="1814096"/>
                  <a:pt x="4944087" y="1823332"/>
                </a:cubicBezTo>
                <a:cubicBezTo>
                  <a:pt x="4949882" y="1812650"/>
                  <a:pt x="4914396" y="1826154"/>
                  <a:pt x="4907662" y="1816900"/>
                </a:cubicBezTo>
                <a:cubicBezTo>
                  <a:pt x="4903760" y="1809237"/>
                  <a:pt x="4892087" y="1811549"/>
                  <a:pt x="4882386" y="1809844"/>
                </a:cubicBezTo>
                <a:cubicBezTo>
                  <a:pt x="4874062" y="1802609"/>
                  <a:pt x="4826962" y="1801349"/>
                  <a:pt x="4811440" y="1804655"/>
                </a:cubicBezTo>
                <a:cubicBezTo>
                  <a:pt x="4768806" y="1818748"/>
                  <a:pt x="4725356" y="1790961"/>
                  <a:pt x="4691075" y="1801389"/>
                </a:cubicBezTo>
                <a:cubicBezTo>
                  <a:pt x="4663743" y="1799478"/>
                  <a:pt x="4655044" y="1795479"/>
                  <a:pt x="4647449" y="1793181"/>
                </a:cubicBezTo>
                <a:lnTo>
                  <a:pt x="4645504" y="1787606"/>
                </a:lnTo>
                <a:lnTo>
                  <a:pt x="4632229" y="1785815"/>
                </a:lnTo>
                <a:lnTo>
                  <a:pt x="4629273" y="1784355"/>
                </a:lnTo>
                <a:cubicBezTo>
                  <a:pt x="4623639" y="1781544"/>
                  <a:pt x="4617950" y="1778917"/>
                  <a:pt x="4611738" y="1776964"/>
                </a:cubicBezTo>
                <a:cubicBezTo>
                  <a:pt x="4601379" y="1800272"/>
                  <a:pt x="4557197" y="1764196"/>
                  <a:pt x="4560070" y="1785640"/>
                </a:cubicBezTo>
                <a:lnTo>
                  <a:pt x="4536503" y="1785334"/>
                </a:lnTo>
                <a:lnTo>
                  <a:pt x="4513724" y="1791996"/>
                </a:lnTo>
                <a:lnTo>
                  <a:pt x="4501513" y="1799835"/>
                </a:lnTo>
                <a:lnTo>
                  <a:pt x="4459076" y="1813003"/>
                </a:lnTo>
                <a:lnTo>
                  <a:pt x="4459810" y="1797886"/>
                </a:lnTo>
                <a:lnTo>
                  <a:pt x="4379064" y="1817177"/>
                </a:lnTo>
                <a:lnTo>
                  <a:pt x="4319209" y="1834833"/>
                </a:lnTo>
                <a:lnTo>
                  <a:pt x="4306907" y="1841641"/>
                </a:lnTo>
                <a:lnTo>
                  <a:pt x="4290981" y="1839677"/>
                </a:lnTo>
                <a:cubicBezTo>
                  <a:pt x="4288909" y="1838717"/>
                  <a:pt x="4287163" y="1837555"/>
                  <a:pt x="4285792" y="1836231"/>
                </a:cubicBezTo>
                <a:lnTo>
                  <a:pt x="4238372" y="1851480"/>
                </a:lnTo>
                <a:lnTo>
                  <a:pt x="4232517" y="1852567"/>
                </a:lnTo>
                <a:lnTo>
                  <a:pt x="4191732" y="1857328"/>
                </a:lnTo>
                <a:lnTo>
                  <a:pt x="4065532" y="1855477"/>
                </a:lnTo>
                <a:cubicBezTo>
                  <a:pt x="4069305" y="1844009"/>
                  <a:pt x="4036780" y="1863138"/>
                  <a:pt x="4028460" y="1855137"/>
                </a:cubicBezTo>
                <a:cubicBezTo>
                  <a:pt x="4023224" y="1848238"/>
                  <a:pt x="4012138" y="1852433"/>
                  <a:pt x="4002267" y="1852352"/>
                </a:cubicBezTo>
                <a:cubicBezTo>
                  <a:pt x="3992749" y="1846600"/>
                  <a:pt x="3946095" y="1853107"/>
                  <a:pt x="3931396" y="1858915"/>
                </a:cubicBezTo>
                <a:cubicBezTo>
                  <a:pt x="3891932" y="1879798"/>
                  <a:pt x="3844059" y="1859600"/>
                  <a:pt x="3812162" y="1875501"/>
                </a:cubicBezTo>
                <a:cubicBezTo>
                  <a:pt x="3784875" y="1878116"/>
                  <a:pt x="3775574" y="1875612"/>
                  <a:pt x="3767672" y="1874600"/>
                </a:cubicBezTo>
                <a:lnTo>
                  <a:pt x="3764741" y="1869433"/>
                </a:lnTo>
                <a:lnTo>
                  <a:pt x="3751332" y="1869854"/>
                </a:lnTo>
                <a:lnTo>
                  <a:pt x="3748155" y="1868903"/>
                </a:lnTo>
                <a:cubicBezTo>
                  <a:pt x="3742091" y="1867062"/>
                  <a:pt x="3736007" y="1865414"/>
                  <a:pt x="3729530" y="1864513"/>
                </a:cubicBezTo>
                <a:cubicBezTo>
                  <a:pt x="3723549" y="1889158"/>
                  <a:pt x="3673453" y="1860919"/>
                  <a:pt x="3680177" y="1881552"/>
                </a:cubicBezTo>
                <a:cubicBezTo>
                  <a:pt x="3643549" y="1880892"/>
                  <a:pt x="3599470" y="1913398"/>
                  <a:pt x="3567259" y="1893482"/>
                </a:cubicBezTo>
                <a:cubicBezTo>
                  <a:pt x="3512865" y="1897927"/>
                  <a:pt x="3463644" y="1898121"/>
                  <a:pt x="3405770" y="1904591"/>
                </a:cubicBezTo>
                <a:cubicBezTo>
                  <a:pt x="3361027" y="1917619"/>
                  <a:pt x="3312439" y="1902759"/>
                  <a:pt x="3280097" y="1919610"/>
                </a:cubicBezTo>
                <a:cubicBezTo>
                  <a:pt x="3228353" y="1917339"/>
                  <a:pt x="3163854" y="1927961"/>
                  <a:pt x="3123424" y="1952930"/>
                </a:cubicBezTo>
                <a:cubicBezTo>
                  <a:pt x="3067921" y="1955455"/>
                  <a:pt x="3058626" y="1970554"/>
                  <a:pt x="3009910" y="1957866"/>
                </a:cubicBezTo>
                <a:cubicBezTo>
                  <a:pt x="3005875" y="1961558"/>
                  <a:pt x="3001138" y="1964570"/>
                  <a:pt x="2995934" y="1967085"/>
                </a:cubicBezTo>
                <a:lnTo>
                  <a:pt x="2980071" y="1972988"/>
                </a:lnTo>
                <a:lnTo>
                  <a:pt x="2978094" y="1972369"/>
                </a:lnTo>
                <a:lnTo>
                  <a:pt x="2942858" y="1981367"/>
                </a:lnTo>
                <a:lnTo>
                  <a:pt x="2875436" y="1996977"/>
                </a:lnTo>
                <a:lnTo>
                  <a:pt x="2874892" y="1996085"/>
                </a:lnTo>
                <a:cubicBezTo>
                  <a:pt x="2872808" y="1994277"/>
                  <a:pt x="2869648" y="1993306"/>
                  <a:pt x="2864145" y="1994061"/>
                </a:cubicBezTo>
                <a:cubicBezTo>
                  <a:pt x="2872218" y="1978115"/>
                  <a:pt x="2860603" y="1988862"/>
                  <a:pt x="2843662" y="1992498"/>
                </a:cubicBezTo>
                <a:cubicBezTo>
                  <a:pt x="2852423" y="1968542"/>
                  <a:pt x="2804535" y="1987804"/>
                  <a:pt x="2796128" y="1976403"/>
                </a:cubicBezTo>
                <a:cubicBezTo>
                  <a:pt x="2783487" y="1979614"/>
                  <a:pt x="2770278" y="1982573"/>
                  <a:pt x="2756784" y="1985116"/>
                </a:cubicBezTo>
                <a:lnTo>
                  <a:pt x="2748833" y="1986323"/>
                </a:lnTo>
                <a:cubicBezTo>
                  <a:pt x="2748775" y="1986256"/>
                  <a:pt x="2748719" y="1986188"/>
                  <a:pt x="2748661" y="1986122"/>
                </a:cubicBezTo>
                <a:cubicBezTo>
                  <a:pt x="2746906" y="1985902"/>
                  <a:pt x="2744280" y="1986117"/>
                  <a:pt x="2740251" y="1986946"/>
                </a:cubicBezTo>
                <a:lnTo>
                  <a:pt x="2718916" y="1990867"/>
                </a:lnTo>
                <a:lnTo>
                  <a:pt x="2713522" y="1990173"/>
                </a:lnTo>
                <a:lnTo>
                  <a:pt x="2680597" y="1984996"/>
                </a:lnTo>
                <a:cubicBezTo>
                  <a:pt x="2658416" y="1985461"/>
                  <a:pt x="2612251" y="1988312"/>
                  <a:pt x="2578178" y="1990531"/>
                </a:cubicBezTo>
                <a:cubicBezTo>
                  <a:pt x="2545413" y="1998704"/>
                  <a:pt x="2513846" y="1994934"/>
                  <a:pt x="2476147" y="1998305"/>
                </a:cubicBezTo>
                <a:cubicBezTo>
                  <a:pt x="2437134" y="2013637"/>
                  <a:pt x="2413847" y="1999542"/>
                  <a:pt x="2373568" y="2003219"/>
                </a:cubicBezTo>
                <a:cubicBezTo>
                  <a:pt x="2341422" y="2024631"/>
                  <a:pt x="2342856" y="1992997"/>
                  <a:pt x="2321399" y="1989467"/>
                </a:cubicBezTo>
                <a:lnTo>
                  <a:pt x="2315525" y="1989708"/>
                </a:lnTo>
                <a:lnTo>
                  <a:pt x="2300792" y="1994290"/>
                </a:lnTo>
                <a:lnTo>
                  <a:pt x="2295469" y="1996659"/>
                </a:lnTo>
                <a:cubicBezTo>
                  <a:pt x="2291722" y="1998049"/>
                  <a:pt x="2289127" y="1998665"/>
                  <a:pt x="2287219" y="1998750"/>
                </a:cubicBezTo>
                <a:lnTo>
                  <a:pt x="2286948" y="1998596"/>
                </a:lnTo>
                <a:lnTo>
                  <a:pt x="2243069" y="2015111"/>
                </a:lnTo>
                <a:cubicBezTo>
                  <a:pt x="2229030" y="2006206"/>
                  <a:pt x="2188966" y="2031217"/>
                  <a:pt x="2186609" y="2008263"/>
                </a:cubicBezTo>
                <a:cubicBezTo>
                  <a:pt x="2170936" y="2014251"/>
                  <a:pt x="2164097" y="2025782"/>
                  <a:pt x="2164831" y="2010143"/>
                </a:cubicBezTo>
                <a:cubicBezTo>
                  <a:pt x="2159536" y="2011705"/>
                  <a:pt x="2155830" y="2011340"/>
                  <a:pt x="2152836" y="2010048"/>
                </a:cubicBezTo>
                <a:lnTo>
                  <a:pt x="2117102" y="2023004"/>
                </a:lnTo>
                <a:lnTo>
                  <a:pt x="2111935" y="2023163"/>
                </a:lnTo>
                <a:lnTo>
                  <a:pt x="2089991" y="2034193"/>
                </a:lnTo>
                <a:lnTo>
                  <a:pt x="2058061" y="2047942"/>
                </a:lnTo>
                <a:lnTo>
                  <a:pt x="2055737" y="2047704"/>
                </a:lnTo>
                <a:lnTo>
                  <a:pt x="2042244" y="2055560"/>
                </a:lnTo>
                <a:cubicBezTo>
                  <a:pt x="2038090" y="2058656"/>
                  <a:pt x="1978623" y="2070285"/>
                  <a:pt x="1976224" y="2074257"/>
                </a:cubicBezTo>
                <a:cubicBezTo>
                  <a:pt x="1920172" y="2070662"/>
                  <a:pt x="1933546" y="2089824"/>
                  <a:pt x="1877728" y="2101004"/>
                </a:cubicBezTo>
                <a:cubicBezTo>
                  <a:pt x="1839146" y="2101989"/>
                  <a:pt x="1818769" y="2108983"/>
                  <a:pt x="1759056" y="2125608"/>
                </a:cubicBezTo>
                <a:cubicBezTo>
                  <a:pt x="1719091" y="2137539"/>
                  <a:pt x="1691494" y="2161097"/>
                  <a:pt x="1637948" y="2172597"/>
                </a:cubicBezTo>
                <a:cubicBezTo>
                  <a:pt x="1587306" y="2207053"/>
                  <a:pt x="1496241" y="2208973"/>
                  <a:pt x="1434549" y="2234522"/>
                </a:cubicBezTo>
                <a:cubicBezTo>
                  <a:pt x="1402655" y="2224964"/>
                  <a:pt x="1409212" y="2231152"/>
                  <a:pt x="1398481" y="2237074"/>
                </a:cubicBezTo>
                <a:cubicBezTo>
                  <a:pt x="1398456" y="2237082"/>
                  <a:pt x="1398432" y="2237089"/>
                  <a:pt x="1398407" y="2237095"/>
                </a:cubicBezTo>
                <a:lnTo>
                  <a:pt x="1370962" y="2237474"/>
                </a:lnTo>
                <a:lnTo>
                  <a:pt x="1356367" y="2235089"/>
                </a:lnTo>
                <a:cubicBezTo>
                  <a:pt x="1346056" y="2233320"/>
                  <a:pt x="1335986" y="2231930"/>
                  <a:pt x="1324828" y="2231968"/>
                </a:cubicBezTo>
                <a:lnTo>
                  <a:pt x="1297744" y="2235849"/>
                </a:lnTo>
                <a:lnTo>
                  <a:pt x="1286236" y="2233135"/>
                </a:lnTo>
                <a:lnTo>
                  <a:pt x="1283504" y="2233797"/>
                </a:lnTo>
                <a:lnTo>
                  <a:pt x="1279765" y="2229639"/>
                </a:lnTo>
                <a:cubicBezTo>
                  <a:pt x="1260110" y="2221111"/>
                  <a:pt x="1209850" y="2211602"/>
                  <a:pt x="1195347" y="2212354"/>
                </a:cubicBezTo>
                <a:cubicBezTo>
                  <a:pt x="1171903" y="2216875"/>
                  <a:pt x="1033292" y="2222456"/>
                  <a:pt x="970251" y="2221029"/>
                </a:cubicBezTo>
                <a:cubicBezTo>
                  <a:pt x="913858" y="2213074"/>
                  <a:pt x="864984" y="2224767"/>
                  <a:pt x="812914" y="2202752"/>
                </a:cubicBezTo>
                <a:cubicBezTo>
                  <a:pt x="809419" y="2205714"/>
                  <a:pt x="805091" y="2207855"/>
                  <a:pt x="800195" y="2209407"/>
                </a:cubicBezTo>
                <a:lnTo>
                  <a:pt x="784978" y="2212360"/>
                </a:lnTo>
                <a:lnTo>
                  <a:pt x="681987" y="2216757"/>
                </a:lnTo>
                <a:lnTo>
                  <a:pt x="669923" y="2211682"/>
                </a:lnTo>
                <a:cubicBezTo>
                  <a:pt x="675432" y="2197125"/>
                  <a:pt x="665394" y="2205767"/>
                  <a:pt x="648680" y="2206229"/>
                </a:cubicBezTo>
                <a:cubicBezTo>
                  <a:pt x="653511" y="2183723"/>
                  <a:pt x="607806" y="2194090"/>
                  <a:pt x="597225" y="2180999"/>
                </a:cubicBezTo>
                <a:cubicBezTo>
                  <a:pt x="584838" y="2181847"/>
                  <a:pt x="571827" y="2182333"/>
                  <a:pt x="558449" y="2182346"/>
                </a:cubicBezTo>
                <a:lnTo>
                  <a:pt x="550517" y="2182060"/>
                </a:lnTo>
                <a:lnTo>
                  <a:pt x="550309" y="2181825"/>
                </a:lnTo>
                <a:cubicBezTo>
                  <a:pt x="548471" y="2181269"/>
                  <a:pt x="545824" y="2180990"/>
                  <a:pt x="541836" y="2181063"/>
                </a:cubicBezTo>
                <a:lnTo>
                  <a:pt x="536057" y="2181537"/>
                </a:lnTo>
                <a:lnTo>
                  <a:pt x="520671" y="2180980"/>
                </a:lnTo>
                <a:lnTo>
                  <a:pt x="515024" y="2179258"/>
                </a:lnTo>
                <a:lnTo>
                  <a:pt x="512278" y="2176369"/>
                </a:lnTo>
                <a:lnTo>
                  <a:pt x="480419" y="2167807"/>
                </a:lnTo>
                <a:cubicBezTo>
                  <a:pt x="458012" y="2174781"/>
                  <a:pt x="449332" y="2162566"/>
                  <a:pt x="413835" y="2156783"/>
                </a:cubicBezTo>
                <a:cubicBezTo>
                  <a:pt x="401959" y="2163765"/>
                  <a:pt x="389622" y="2160522"/>
                  <a:pt x="376513" y="2154014"/>
                </a:cubicBezTo>
                <a:cubicBezTo>
                  <a:pt x="344376" y="2156059"/>
                  <a:pt x="311403" y="2146283"/>
                  <a:pt x="273386" y="2142551"/>
                </a:cubicBezTo>
                <a:cubicBezTo>
                  <a:pt x="236093" y="2150634"/>
                  <a:pt x="209811" y="2132011"/>
                  <a:pt x="169207" y="2128100"/>
                </a:cubicBezTo>
                <a:lnTo>
                  <a:pt x="93149" y="2105324"/>
                </a:lnTo>
                <a:lnTo>
                  <a:pt x="88109" y="2106704"/>
                </a:lnTo>
                <a:cubicBezTo>
                  <a:pt x="84511" y="2107398"/>
                  <a:pt x="81960" y="2107528"/>
                  <a:pt x="80022" y="2107254"/>
                </a:cubicBezTo>
                <a:lnTo>
                  <a:pt x="79717" y="2107046"/>
                </a:lnTo>
                <a:lnTo>
                  <a:pt x="72352" y="2107991"/>
                </a:lnTo>
                <a:cubicBezTo>
                  <a:pt x="60160" y="2110089"/>
                  <a:pt x="48530" y="2112610"/>
                  <a:pt x="37645" y="2115401"/>
                </a:cubicBezTo>
                <a:cubicBezTo>
                  <a:pt x="29688" y="2109582"/>
                  <a:pt x="16534" y="2111084"/>
                  <a:pt x="4572" y="2111091"/>
                </a:cubicBezTo>
                <a:lnTo>
                  <a:pt x="0" y="2110468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B293BCD-DA88-77AC-5EEA-79DABC3F9D16}"/>
              </a:ext>
            </a:extLst>
          </p:cNvPr>
          <p:cNvSpPr txBox="1">
            <a:spLocks/>
          </p:cNvSpPr>
          <p:nvPr/>
        </p:nvSpPr>
        <p:spPr>
          <a:xfrm>
            <a:off x="1815154" y="192506"/>
            <a:ext cx="9274512" cy="1284354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 kern="1200">
                <a:solidFill>
                  <a:srgbClr val="013C5B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en-GB" sz="3000" dirty="0">
                <a:solidFill>
                  <a:schemeClr val="tx1"/>
                </a:solidFill>
                <a:latin typeface="+mn-lt"/>
              </a:rPr>
              <a:t>Critical/Urgent Scenarios</a:t>
            </a:r>
          </a:p>
          <a:p>
            <a:r>
              <a:rPr lang="en-GB" sz="1500" dirty="0">
                <a:solidFill>
                  <a:schemeClr val="tx1"/>
                </a:solidFill>
                <a:latin typeface="+mn-lt"/>
              </a:rPr>
              <a:t>R</a:t>
            </a:r>
            <a:r>
              <a:rPr lang="en-US" sz="1500" dirty="0" err="1">
                <a:solidFill>
                  <a:schemeClr val="tx1"/>
                </a:solidFill>
                <a:latin typeface="+mn-lt"/>
              </a:rPr>
              <a:t>equiring</a:t>
            </a:r>
            <a:r>
              <a:rPr lang="en-US" sz="1500" dirty="0">
                <a:solidFill>
                  <a:schemeClr val="tx1"/>
                </a:solidFill>
                <a:latin typeface="+mn-lt"/>
              </a:rPr>
              <a:t> investigation(s) that is/are critical to inform	</a:t>
            </a:r>
          </a:p>
          <a:p>
            <a:r>
              <a:rPr lang="en-US" sz="1500" dirty="0">
                <a:solidFill>
                  <a:schemeClr val="tx1"/>
                </a:solidFill>
                <a:latin typeface="+mn-lt"/>
              </a:rPr>
              <a:t>immediate required treatment which cannot be determined without the</a:t>
            </a:r>
          </a:p>
          <a:p>
            <a:r>
              <a:rPr lang="en-US" sz="1500" dirty="0">
                <a:solidFill>
                  <a:schemeClr val="tx1"/>
                </a:solidFill>
                <a:latin typeface="+mn-lt"/>
              </a:rPr>
              <a:t> investigation e.g. within 0-24 hours</a:t>
            </a:r>
            <a:endParaRPr lang="en-GB" sz="15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8825EC-D05A-5B1E-48E0-F5E5B0C5F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360460" y="6189260"/>
            <a:ext cx="7831541" cy="668740"/>
          </a:xfrm>
          <a:custGeom>
            <a:avLst/>
            <a:gdLst>
              <a:gd name="connsiteX0" fmla="*/ 4686423 w 9517857"/>
              <a:gd name="connsiteY0" fmla="*/ 247919 h 918356"/>
              <a:gd name="connsiteX1" fmla="*/ 4689051 w 9517857"/>
              <a:gd name="connsiteY1" fmla="*/ 250968 h 918356"/>
              <a:gd name="connsiteX2" fmla="*/ 4687244 w 9517857"/>
              <a:gd name="connsiteY2" fmla="*/ 251298 h 918356"/>
              <a:gd name="connsiteX3" fmla="*/ 4685225 w 9517857"/>
              <a:gd name="connsiteY3" fmla="*/ 246530 h 918356"/>
              <a:gd name="connsiteX4" fmla="*/ 4686133 w 9517857"/>
              <a:gd name="connsiteY4" fmla="*/ 246727 h 918356"/>
              <a:gd name="connsiteX5" fmla="*/ 4686423 w 9517857"/>
              <a:gd name="connsiteY5" fmla="*/ 247919 h 918356"/>
              <a:gd name="connsiteX6" fmla="*/ 9517856 w 9517857"/>
              <a:gd name="connsiteY6" fmla="*/ 0 h 918356"/>
              <a:gd name="connsiteX7" fmla="*/ 9517857 w 9517857"/>
              <a:gd name="connsiteY7" fmla="*/ 12 h 918356"/>
              <a:gd name="connsiteX8" fmla="*/ 9517857 w 9517857"/>
              <a:gd name="connsiteY8" fmla="*/ 918356 h 918356"/>
              <a:gd name="connsiteX9" fmla="*/ 14604 w 9517857"/>
              <a:gd name="connsiteY9" fmla="*/ 918356 h 918356"/>
              <a:gd name="connsiteX10" fmla="*/ 12841 w 9517857"/>
              <a:gd name="connsiteY10" fmla="*/ 917763 h 918356"/>
              <a:gd name="connsiteX11" fmla="*/ 93 w 9517857"/>
              <a:gd name="connsiteY11" fmla="*/ 912471 h 918356"/>
              <a:gd name="connsiteX12" fmla="*/ 58674 w 9517857"/>
              <a:gd name="connsiteY12" fmla="*/ 890322 h 918356"/>
              <a:gd name="connsiteX13" fmla="*/ 275005 w 9517857"/>
              <a:gd name="connsiteY13" fmla="*/ 807229 h 918356"/>
              <a:gd name="connsiteX14" fmla="*/ 587824 w 9517857"/>
              <a:gd name="connsiteY14" fmla="*/ 798195 h 918356"/>
              <a:gd name="connsiteX15" fmla="*/ 651826 w 9517857"/>
              <a:gd name="connsiteY15" fmla="*/ 738338 h 918356"/>
              <a:gd name="connsiteX16" fmla="*/ 727985 w 9517857"/>
              <a:gd name="connsiteY16" fmla="*/ 719826 h 918356"/>
              <a:gd name="connsiteX17" fmla="*/ 778982 w 9517857"/>
              <a:gd name="connsiteY17" fmla="*/ 710142 h 918356"/>
              <a:gd name="connsiteX18" fmla="*/ 849944 w 9517857"/>
              <a:gd name="connsiteY18" fmla="*/ 717987 h 918356"/>
              <a:gd name="connsiteX19" fmla="*/ 921659 w 9517857"/>
              <a:gd name="connsiteY19" fmla="*/ 712695 h 918356"/>
              <a:gd name="connsiteX20" fmla="*/ 930946 w 9517857"/>
              <a:gd name="connsiteY20" fmla="*/ 734046 h 918356"/>
              <a:gd name="connsiteX21" fmla="*/ 986250 w 9517857"/>
              <a:gd name="connsiteY21" fmla="*/ 713530 h 918356"/>
              <a:gd name="connsiteX22" fmla="*/ 1013752 w 9517857"/>
              <a:gd name="connsiteY22" fmla="*/ 713361 h 918356"/>
              <a:gd name="connsiteX23" fmla="*/ 1023734 w 9517857"/>
              <a:gd name="connsiteY23" fmla="*/ 718571 h 918356"/>
              <a:gd name="connsiteX24" fmla="*/ 1063207 w 9517857"/>
              <a:gd name="connsiteY24" fmla="*/ 715651 h 918356"/>
              <a:gd name="connsiteX25" fmla="*/ 1081980 w 9517857"/>
              <a:gd name="connsiteY25" fmla="*/ 738455 h 918356"/>
              <a:gd name="connsiteX26" fmla="*/ 1218120 w 9517857"/>
              <a:gd name="connsiteY26" fmla="*/ 713280 h 918356"/>
              <a:gd name="connsiteX27" fmla="*/ 1397459 w 9517857"/>
              <a:gd name="connsiteY27" fmla="*/ 691190 h 918356"/>
              <a:gd name="connsiteX28" fmla="*/ 1580688 w 9517857"/>
              <a:gd name="connsiteY28" fmla="*/ 693697 h 918356"/>
              <a:gd name="connsiteX29" fmla="*/ 1772334 w 9517857"/>
              <a:gd name="connsiteY29" fmla="*/ 710640 h 918356"/>
              <a:gd name="connsiteX30" fmla="*/ 2002561 w 9517857"/>
              <a:gd name="connsiteY30" fmla="*/ 659917 h 918356"/>
              <a:gd name="connsiteX31" fmla="*/ 2135144 w 9517857"/>
              <a:gd name="connsiteY31" fmla="*/ 636501 h 918356"/>
              <a:gd name="connsiteX32" fmla="*/ 2440292 w 9517857"/>
              <a:gd name="connsiteY32" fmla="*/ 593862 h 918356"/>
              <a:gd name="connsiteX33" fmla="*/ 2547829 w 9517857"/>
              <a:gd name="connsiteY33" fmla="*/ 566150 h 918356"/>
              <a:gd name="connsiteX34" fmla="*/ 2658055 w 9517857"/>
              <a:gd name="connsiteY34" fmla="*/ 578727 h 918356"/>
              <a:gd name="connsiteX35" fmla="*/ 2693698 w 9517857"/>
              <a:gd name="connsiteY35" fmla="*/ 560029 h 918356"/>
              <a:gd name="connsiteX36" fmla="*/ 2699673 w 9517857"/>
              <a:gd name="connsiteY36" fmla="*/ 556400 h 918356"/>
              <a:gd name="connsiteX37" fmla="*/ 2727306 w 9517857"/>
              <a:gd name="connsiteY37" fmla="*/ 550698 h 918356"/>
              <a:gd name="connsiteX38" fmla="*/ 2730451 w 9517857"/>
              <a:gd name="connsiteY38" fmla="*/ 538058 h 918356"/>
              <a:gd name="connsiteX39" fmla="*/ 2768713 w 9517857"/>
              <a:gd name="connsiteY39" fmla="*/ 521575 h 918356"/>
              <a:gd name="connsiteX40" fmla="*/ 2820868 w 9517857"/>
              <a:gd name="connsiteY40" fmla="*/ 514160 h 918356"/>
              <a:gd name="connsiteX41" fmla="*/ 3073635 w 9517857"/>
              <a:gd name="connsiteY41" fmla="*/ 491294 h 918356"/>
              <a:gd name="connsiteX42" fmla="*/ 3222071 w 9517857"/>
              <a:gd name="connsiteY42" fmla="*/ 470559 h 918356"/>
              <a:gd name="connsiteX43" fmla="*/ 3274069 w 9517857"/>
              <a:gd name="connsiteY43" fmla="*/ 451605 h 918356"/>
              <a:gd name="connsiteX44" fmla="*/ 3349632 w 9517857"/>
              <a:gd name="connsiteY44" fmla="*/ 432583 h 918356"/>
              <a:gd name="connsiteX45" fmla="*/ 3479593 w 9517857"/>
              <a:gd name="connsiteY45" fmla="*/ 390437 h 918356"/>
              <a:gd name="connsiteX46" fmla="*/ 3660110 w 9517857"/>
              <a:gd name="connsiteY46" fmla="*/ 348726 h 918356"/>
              <a:gd name="connsiteX47" fmla="*/ 3750023 w 9517857"/>
              <a:gd name="connsiteY47" fmla="*/ 370678 h 918356"/>
              <a:gd name="connsiteX48" fmla="*/ 3844133 w 9517857"/>
              <a:gd name="connsiteY48" fmla="*/ 360648 h 918356"/>
              <a:gd name="connsiteX49" fmla="*/ 3913545 w 9517857"/>
              <a:gd name="connsiteY49" fmla="*/ 344235 h 918356"/>
              <a:gd name="connsiteX50" fmla="*/ 4266740 w 9517857"/>
              <a:gd name="connsiteY50" fmla="*/ 361454 h 918356"/>
              <a:gd name="connsiteX51" fmla="*/ 4430770 w 9517857"/>
              <a:gd name="connsiteY51" fmla="*/ 342643 h 918356"/>
              <a:gd name="connsiteX52" fmla="*/ 4512664 w 9517857"/>
              <a:gd name="connsiteY52" fmla="*/ 319948 h 918356"/>
              <a:gd name="connsiteX53" fmla="*/ 4616423 w 9517857"/>
              <a:gd name="connsiteY53" fmla="*/ 290914 h 918356"/>
              <a:gd name="connsiteX54" fmla="*/ 4691675 w 9517857"/>
              <a:gd name="connsiteY54" fmla="*/ 254011 h 918356"/>
              <a:gd name="connsiteX55" fmla="*/ 4689051 w 9517857"/>
              <a:gd name="connsiteY55" fmla="*/ 250968 h 918356"/>
              <a:gd name="connsiteX56" fmla="*/ 4719994 w 9517857"/>
              <a:gd name="connsiteY56" fmla="*/ 245307 h 918356"/>
              <a:gd name="connsiteX57" fmla="*/ 4752894 w 9517857"/>
              <a:gd name="connsiteY57" fmla="*/ 239875 h 918356"/>
              <a:gd name="connsiteX58" fmla="*/ 4769329 w 9517857"/>
              <a:gd name="connsiteY58" fmla="*/ 233585 h 918356"/>
              <a:gd name="connsiteX59" fmla="*/ 4775634 w 9517857"/>
              <a:gd name="connsiteY59" fmla="*/ 234063 h 918356"/>
              <a:gd name="connsiteX60" fmla="*/ 4790452 w 9517857"/>
              <a:gd name="connsiteY60" fmla="*/ 233572 h 918356"/>
              <a:gd name="connsiteX61" fmla="*/ 4789062 w 9517857"/>
              <a:gd name="connsiteY61" fmla="*/ 241924 h 918356"/>
              <a:gd name="connsiteX62" fmla="*/ 4827826 w 9517857"/>
              <a:gd name="connsiteY62" fmla="*/ 246977 h 918356"/>
              <a:gd name="connsiteX63" fmla="*/ 4892569 w 9517857"/>
              <a:gd name="connsiteY63" fmla="*/ 249933 h 918356"/>
              <a:gd name="connsiteX64" fmla="*/ 4896611 w 9517857"/>
              <a:gd name="connsiteY64" fmla="*/ 240448 h 918356"/>
              <a:gd name="connsiteX65" fmla="*/ 4917286 w 9517857"/>
              <a:gd name="connsiteY65" fmla="*/ 243659 h 918356"/>
              <a:gd name="connsiteX66" fmla="*/ 4981173 w 9517857"/>
              <a:gd name="connsiteY66" fmla="*/ 247103 h 918356"/>
              <a:gd name="connsiteX67" fmla="*/ 5060397 w 9517857"/>
              <a:gd name="connsiteY67" fmla="*/ 263688 h 918356"/>
              <a:gd name="connsiteX68" fmla="*/ 5252996 w 9517857"/>
              <a:gd name="connsiteY68" fmla="*/ 270655 h 918356"/>
              <a:gd name="connsiteX69" fmla="*/ 5358056 w 9517857"/>
              <a:gd name="connsiteY69" fmla="*/ 247248 h 918356"/>
              <a:gd name="connsiteX70" fmla="*/ 5426496 w 9517857"/>
              <a:gd name="connsiteY70" fmla="*/ 235142 h 918356"/>
              <a:gd name="connsiteX71" fmla="*/ 5497161 w 9517857"/>
              <a:gd name="connsiteY71" fmla="*/ 228808 h 918356"/>
              <a:gd name="connsiteX72" fmla="*/ 5826043 w 9517857"/>
              <a:gd name="connsiteY72" fmla="*/ 148073 h 918356"/>
              <a:gd name="connsiteX73" fmla="*/ 6013415 w 9517857"/>
              <a:gd name="connsiteY73" fmla="*/ 137316 h 918356"/>
              <a:gd name="connsiteX74" fmla="*/ 6080994 w 9517857"/>
              <a:gd name="connsiteY74" fmla="*/ 142938 h 918356"/>
              <a:gd name="connsiteX75" fmla="*/ 6194152 w 9517857"/>
              <a:gd name="connsiteY75" fmla="*/ 151772 h 918356"/>
              <a:gd name="connsiteX76" fmla="*/ 6281379 w 9517857"/>
              <a:gd name="connsiteY76" fmla="*/ 181626 h 918356"/>
              <a:gd name="connsiteX77" fmla="*/ 6374947 w 9517857"/>
              <a:gd name="connsiteY77" fmla="*/ 179799 h 918356"/>
              <a:gd name="connsiteX78" fmla="*/ 6448518 w 9517857"/>
              <a:gd name="connsiteY78" fmla="*/ 164378 h 918356"/>
              <a:gd name="connsiteX79" fmla="*/ 6544700 w 9517857"/>
              <a:gd name="connsiteY79" fmla="*/ 167161 h 918356"/>
              <a:gd name="connsiteX80" fmla="*/ 6648353 w 9517857"/>
              <a:gd name="connsiteY80" fmla="*/ 172250 h 918356"/>
              <a:gd name="connsiteX81" fmla="*/ 6736227 w 9517857"/>
              <a:gd name="connsiteY81" fmla="*/ 173216 h 918356"/>
              <a:gd name="connsiteX82" fmla="*/ 6977218 w 9517857"/>
              <a:gd name="connsiteY82" fmla="*/ 184289 h 918356"/>
              <a:gd name="connsiteX83" fmla="*/ 7065221 w 9517857"/>
              <a:gd name="connsiteY83" fmla="*/ 227531 h 918356"/>
              <a:gd name="connsiteX84" fmla="*/ 7366876 w 9517857"/>
              <a:gd name="connsiteY84" fmla="*/ 248468 h 918356"/>
              <a:gd name="connsiteX85" fmla="*/ 7565449 w 9517857"/>
              <a:gd name="connsiteY85" fmla="*/ 258950 h 918356"/>
              <a:gd name="connsiteX86" fmla="*/ 7599285 w 9517857"/>
              <a:gd name="connsiteY86" fmla="*/ 266021 h 918356"/>
              <a:gd name="connsiteX87" fmla="*/ 7644411 w 9517857"/>
              <a:gd name="connsiteY87" fmla="*/ 258986 h 918356"/>
              <a:gd name="connsiteX88" fmla="*/ 7825110 w 9517857"/>
              <a:gd name="connsiteY88" fmla="*/ 229109 h 918356"/>
              <a:gd name="connsiteX89" fmla="*/ 7965804 w 9517857"/>
              <a:gd name="connsiteY89" fmla="*/ 190545 h 918356"/>
              <a:gd name="connsiteX90" fmla="*/ 8147401 w 9517857"/>
              <a:gd name="connsiteY90" fmla="*/ 205617 h 918356"/>
              <a:gd name="connsiteX91" fmla="*/ 8256033 w 9517857"/>
              <a:gd name="connsiteY91" fmla="*/ 193713 h 918356"/>
              <a:gd name="connsiteX92" fmla="*/ 8410677 w 9517857"/>
              <a:gd name="connsiteY92" fmla="*/ 172167 h 918356"/>
              <a:gd name="connsiteX93" fmla="*/ 8617841 w 9517857"/>
              <a:gd name="connsiteY93" fmla="*/ 155167 h 918356"/>
              <a:gd name="connsiteX94" fmla="*/ 8715976 w 9517857"/>
              <a:gd name="connsiteY94" fmla="*/ 178374 h 918356"/>
              <a:gd name="connsiteX95" fmla="*/ 8778827 w 9517857"/>
              <a:gd name="connsiteY95" fmla="*/ 172936 h 918356"/>
              <a:gd name="connsiteX96" fmla="*/ 8840778 w 9517857"/>
              <a:gd name="connsiteY96" fmla="*/ 143149 h 918356"/>
              <a:gd name="connsiteX97" fmla="*/ 9010380 w 9517857"/>
              <a:gd name="connsiteY97" fmla="*/ 91891 h 918356"/>
              <a:gd name="connsiteX98" fmla="*/ 9110856 w 9517857"/>
              <a:gd name="connsiteY98" fmla="*/ 70997 h 918356"/>
              <a:gd name="connsiteX99" fmla="*/ 9268817 w 9517857"/>
              <a:gd name="connsiteY99" fmla="*/ 53082 h 918356"/>
              <a:gd name="connsiteX100" fmla="*/ 9316667 w 9517857"/>
              <a:gd name="connsiteY100" fmla="*/ 45047 h 918356"/>
              <a:gd name="connsiteX101" fmla="*/ 9428209 w 9517857"/>
              <a:gd name="connsiteY101" fmla="*/ 29923 h 918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9517857" h="918356">
                <a:moveTo>
                  <a:pt x="4686423" y="247919"/>
                </a:moveTo>
                <a:lnTo>
                  <a:pt x="4689051" y="250968"/>
                </a:lnTo>
                <a:lnTo>
                  <a:pt x="4687244" y="251298"/>
                </a:lnTo>
                <a:close/>
                <a:moveTo>
                  <a:pt x="4685225" y="246530"/>
                </a:moveTo>
                <a:cubicBezTo>
                  <a:pt x="4688837" y="243198"/>
                  <a:pt x="4687468" y="244598"/>
                  <a:pt x="4686133" y="246727"/>
                </a:cubicBezTo>
                <a:lnTo>
                  <a:pt x="4686423" y="247919"/>
                </a:lnTo>
                <a:close/>
                <a:moveTo>
                  <a:pt x="9517856" y="0"/>
                </a:moveTo>
                <a:lnTo>
                  <a:pt x="9517857" y="12"/>
                </a:lnTo>
                <a:lnTo>
                  <a:pt x="9517857" y="918356"/>
                </a:lnTo>
                <a:lnTo>
                  <a:pt x="14604" y="918356"/>
                </a:lnTo>
                <a:lnTo>
                  <a:pt x="12841" y="917763"/>
                </a:lnTo>
                <a:cubicBezTo>
                  <a:pt x="4532" y="914864"/>
                  <a:pt x="-773" y="912807"/>
                  <a:pt x="93" y="912471"/>
                </a:cubicBezTo>
                <a:cubicBezTo>
                  <a:pt x="172" y="912298"/>
                  <a:pt x="58594" y="890495"/>
                  <a:pt x="58674" y="890322"/>
                </a:cubicBezTo>
                <a:cubicBezTo>
                  <a:pt x="127436" y="929614"/>
                  <a:pt x="206243" y="828226"/>
                  <a:pt x="275005" y="807229"/>
                </a:cubicBezTo>
                <a:cubicBezTo>
                  <a:pt x="303983" y="806087"/>
                  <a:pt x="504960" y="777375"/>
                  <a:pt x="587824" y="798195"/>
                </a:cubicBezTo>
                <a:cubicBezTo>
                  <a:pt x="598733" y="769348"/>
                  <a:pt x="682904" y="785924"/>
                  <a:pt x="651826" y="738338"/>
                </a:cubicBezTo>
                <a:cubicBezTo>
                  <a:pt x="688440" y="737862"/>
                  <a:pt x="753255" y="750396"/>
                  <a:pt x="727985" y="719826"/>
                </a:cubicBezTo>
                <a:cubicBezTo>
                  <a:pt x="739648" y="718749"/>
                  <a:pt x="775717" y="715087"/>
                  <a:pt x="778982" y="710142"/>
                </a:cubicBezTo>
                <a:cubicBezTo>
                  <a:pt x="779189" y="709407"/>
                  <a:pt x="849736" y="718721"/>
                  <a:pt x="849944" y="717987"/>
                </a:cubicBezTo>
                <a:lnTo>
                  <a:pt x="921659" y="712695"/>
                </a:lnTo>
                <a:lnTo>
                  <a:pt x="930946" y="734046"/>
                </a:lnTo>
                <a:lnTo>
                  <a:pt x="986250" y="713530"/>
                </a:lnTo>
                <a:lnTo>
                  <a:pt x="1013752" y="713361"/>
                </a:lnTo>
                <a:lnTo>
                  <a:pt x="1023734" y="718571"/>
                </a:lnTo>
                <a:cubicBezTo>
                  <a:pt x="1033291" y="721276"/>
                  <a:pt x="1045398" y="721394"/>
                  <a:pt x="1063207" y="715651"/>
                </a:cubicBezTo>
                <a:lnTo>
                  <a:pt x="1081980" y="738455"/>
                </a:lnTo>
                <a:lnTo>
                  <a:pt x="1218120" y="713280"/>
                </a:lnTo>
                <a:cubicBezTo>
                  <a:pt x="1230137" y="716162"/>
                  <a:pt x="1387179" y="685179"/>
                  <a:pt x="1397459" y="691190"/>
                </a:cubicBezTo>
                <a:cubicBezTo>
                  <a:pt x="1490025" y="704984"/>
                  <a:pt x="1465878" y="715604"/>
                  <a:pt x="1580688" y="693697"/>
                </a:cubicBezTo>
                <a:cubicBezTo>
                  <a:pt x="1607067" y="704379"/>
                  <a:pt x="1719477" y="658239"/>
                  <a:pt x="1772334" y="710640"/>
                </a:cubicBezTo>
                <a:cubicBezTo>
                  <a:pt x="1745536" y="644824"/>
                  <a:pt x="1976078" y="716436"/>
                  <a:pt x="2002561" y="659917"/>
                </a:cubicBezTo>
                <a:cubicBezTo>
                  <a:pt x="2045346" y="660357"/>
                  <a:pt x="2166676" y="654391"/>
                  <a:pt x="2135144" y="636501"/>
                </a:cubicBezTo>
                <a:cubicBezTo>
                  <a:pt x="2276591" y="665055"/>
                  <a:pt x="2293173" y="591792"/>
                  <a:pt x="2440292" y="593862"/>
                </a:cubicBezTo>
                <a:cubicBezTo>
                  <a:pt x="2495160" y="534824"/>
                  <a:pt x="2473343" y="585644"/>
                  <a:pt x="2547829" y="566150"/>
                </a:cubicBezTo>
                <a:cubicBezTo>
                  <a:pt x="2545438" y="614169"/>
                  <a:pt x="2632278" y="528280"/>
                  <a:pt x="2658055" y="578727"/>
                </a:cubicBezTo>
                <a:cubicBezTo>
                  <a:pt x="2670795" y="573581"/>
                  <a:pt x="2682322" y="567005"/>
                  <a:pt x="2693698" y="560029"/>
                </a:cubicBezTo>
                <a:lnTo>
                  <a:pt x="2699673" y="556400"/>
                </a:lnTo>
                <a:lnTo>
                  <a:pt x="2727306" y="550698"/>
                </a:lnTo>
                <a:lnTo>
                  <a:pt x="2730451" y="538058"/>
                </a:lnTo>
                <a:lnTo>
                  <a:pt x="2768713" y="521575"/>
                </a:lnTo>
                <a:cubicBezTo>
                  <a:pt x="2783756" y="517104"/>
                  <a:pt x="2800788" y="514291"/>
                  <a:pt x="2820868" y="514160"/>
                </a:cubicBezTo>
                <a:cubicBezTo>
                  <a:pt x="2894791" y="532885"/>
                  <a:pt x="2981506" y="465507"/>
                  <a:pt x="3073635" y="491294"/>
                </a:cubicBezTo>
                <a:cubicBezTo>
                  <a:pt x="3106872" y="496624"/>
                  <a:pt x="3205785" y="487718"/>
                  <a:pt x="3222071" y="470559"/>
                </a:cubicBezTo>
                <a:cubicBezTo>
                  <a:pt x="3242193" y="465514"/>
                  <a:pt x="3267163" y="469136"/>
                  <a:pt x="3274069" y="451605"/>
                </a:cubicBezTo>
                <a:cubicBezTo>
                  <a:pt x="3286659" y="430165"/>
                  <a:pt x="3363648" y="455571"/>
                  <a:pt x="3349632" y="432583"/>
                </a:cubicBezTo>
                <a:cubicBezTo>
                  <a:pt x="3404182" y="449847"/>
                  <a:pt x="3438210" y="404323"/>
                  <a:pt x="3479593" y="390437"/>
                </a:cubicBezTo>
                <a:cubicBezTo>
                  <a:pt x="3523240" y="408403"/>
                  <a:pt x="3567027" y="361554"/>
                  <a:pt x="3660110" y="348726"/>
                </a:cubicBezTo>
                <a:cubicBezTo>
                  <a:pt x="3708299" y="369683"/>
                  <a:pt x="3662447" y="344775"/>
                  <a:pt x="3750023" y="370678"/>
                </a:cubicBezTo>
                <a:cubicBezTo>
                  <a:pt x="3752092" y="367132"/>
                  <a:pt x="3816880" y="365055"/>
                  <a:pt x="3844133" y="360648"/>
                </a:cubicBezTo>
                <a:cubicBezTo>
                  <a:pt x="3871386" y="356240"/>
                  <a:pt x="3882848" y="332490"/>
                  <a:pt x="3913545" y="344235"/>
                </a:cubicBezTo>
                <a:cubicBezTo>
                  <a:pt x="4050255" y="376864"/>
                  <a:pt x="4159924" y="363190"/>
                  <a:pt x="4266740" y="361454"/>
                </a:cubicBezTo>
                <a:cubicBezTo>
                  <a:pt x="4385770" y="354374"/>
                  <a:pt x="4314535" y="340143"/>
                  <a:pt x="4430770" y="342643"/>
                </a:cubicBezTo>
                <a:cubicBezTo>
                  <a:pt x="4439969" y="322594"/>
                  <a:pt x="4478290" y="314645"/>
                  <a:pt x="4512664" y="319948"/>
                </a:cubicBezTo>
                <a:cubicBezTo>
                  <a:pt x="4570011" y="315138"/>
                  <a:pt x="4549085" y="269599"/>
                  <a:pt x="4616423" y="290914"/>
                </a:cubicBezTo>
                <a:cubicBezTo>
                  <a:pt x="4599641" y="270277"/>
                  <a:pt x="4692085" y="269216"/>
                  <a:pt x="4691675" y="254011"/>
                </a:cubicBezTo>
                <a:lnTo>
                  <a:pt x="4689051" y="250968"/>
                </a:lnTo>
                <a:lnTo>
                  <a:pt x="4719994" y="245307"/>
                </a:lnTo>
                <a:cubicBezTo>
                  <a:pt x="4732635" y="242775"/>
                  <a:pt x="4745300" y="240335"/>
                  <a:pt x="4752894" y="239875"/>
                </a:cubicBezTo>
                <a:lnTo>
                  <a:pt x="4769329" y="233585"/>
                </a:lnTo>
                <a:lnTo>
                  <a:pt x="4775634" y="234063"/>
                </a:lnTo>
                <a:lnTo>
                  <a:pt x="4790452" y="233572"/>
                </a:lnTo>
                <a:cubicBezTo>
                  <a:pt x="4789989" y="236356"/>
                  <a:pt x="4789525" y="239141"/>
                  <a:pt x="4789062" y="241924"/>
                </a:cubicBezTo>
                <a:cubicBezTo>
                  <a:pt x="4786342" y="249932"/>
                  <a:pt x="4804560" y="248631"/>
                  <a:pt x="4827826" y="246977"/>
                </a:cubicBezTo>
                <a:cubicBezTo>
                  <a:pt x="4875782" y="239569"/>
                  <a:pt x="4874112" y="283413"/>
                  <a:pt x="4892569" y="249933"/>
                </a:cubicBezTo>
                <a:lnTo>
                  <a:pt x="4896611" y="240448"/>
                </a:lnTo>
                <a:lnTo>
                  <a:pt x="4917286" y="243659"/>
                </a:lnTo>
                <a:cubicBezTo>
                  <a:pt x="4923060" y="243799"/>
                  <a:pt x="4981729" y="240979"/>
                  <a:pt x="4981173" y="247103"/>
                </a:cubicBezTo>
                <a:cubicBezTo>
                  <a:pt x="5024880" y="220690"/>
                  <a:pt x="5014146" y="257963"/>
                  <a:pt x="5060397" y="263688"/>
                </a:cubicBezTo>
                <a:cubicBezTo>
                  <a:pt x="5093356" y="238589"/>
                  <a:pt x="5157892" y="275351"/>
                  <a:pt x="5252996" y="270655"/>
                </a:cubicBezTo>
                <a:cubicBezTo>
                  <a:pt x="5288840" y="241872"/>
                  <a:pt x="5287005" y="287921"/>
                  <a:pt x="5358056" y="247248"/>
                </a:cubicBezTo>
                <a:cubicBezTo>
                  <a:pt x="5361752" y="250257"/>
                  <a:pt x="5403312" y="238215"/>
                  <a:pt x="5426496" y="235142"/>
                </a:cubicBezTo>
                <a:cubicBezTo>
                  <a:pt x="5449679" y="232069"/>
                  <a:pt x="5473549" y="245611"/>
                  <a:pt x="5497161" y="228808"/>
                </a:cubicBezTo>
                <a:cubicBezTo>
                  <a:pt x="5611861" y="172767"/>
                  <a:pt x="5723211" y="165860"/>
                  <a:pt x="5826043" y="148073"/>
                </a:cubicBezTo>
                <a:cubicBezTo>
                  <a:pt x="5943127" y="133166"/>
                  <a:pt x="5872659" y="193078"/>
                  <a:pt x="6013415" y="137316"/>
                </a:cubicBezTo>
                <a:cubicBezTo>
                  <a:pt x="6031924" y="154783"/>
                  <a:pt x="6050745" y="154258"/>
                  <a:pt x="6080994" y="142938"/>
                </a:cubicBezTo>
                <a:cubicBezTo>
                  <a:pt x="6138083" y="137090"/>
                  <a:pt x="6140195" y="184383"/>
                  <a:pt x="6194152" y="151772"/>
                </a:cubicBezTo>
                <a:cubicBezTo>
                  <a:pt x="6187280" y="177783"/>
                  <a:pt x="6304222" y="153410"/>
                  <a:pt x="6281379" y="181626"/>
                </a:cubicBezTo>
                <a:cubicBezTo>
                  <a:pt x="6321899" y="201819"/>
                  <a:pt x="6335111" y="162590"/>
                  <a:pt x="6374947" y="179799"/>
                </a:cubicBezTo>
                <a:cubicBezTo>
                  <a:pt x="6417404" y="181336"/>
                  <a:pt x="6402484" y="169694"/>
                  <a:pt x="6448518" y="164378"/>
                </a:cubicBezTo>
                <a:cubicBezTo>
                  <a:pt x="6504958" y="162488"/>
                  <a:pt x="6493438" y="111203"/>
                  <a:pt x="6544700" y="167161"/>
                </a:cubicBezTo>
                <a:cubicBezTo>
                  <a:pt x="6601507" y="148697"/>
                  <a:pt x="6566269" y="164386"/>
                  <a:pt x="6648353" y="172250"/>
                </a:cubicBezTo>
                <a:cubicBezTo>
                  <a:pt x="6680008" y="155223"/>
                  <a:pt x="6707960" y="160673"/>
                  <a:pt x="6736227" y="173216"/>
                </a:cubicBezTo>
                <a:cubicBezTo>
                  <a:pt x="6813963" y="164284"/>
                  <a:pt x="6888143" y="181296"/>
                  <a:pt x="6977218" y="184289"/>
                </a:cubicBezTo>
                <a:cubicBezTo>
                  <a:pt x="7040424" y="188318"/>
                  <a:pt x="7000278" y="216835"/>
                  <a:pt x="7065221" y="227531"/>
                </a:cubicBezTo>
                <a:cubicBezTo>
                  <a:pt x="7130163" y="238228"/>
                  <a:pt x="7291878" y="238208"/>
                  <a:pt x="7366876" y="248468"/>
                </a:cubicBezTo>
                <a:cubicBezTo>
                  <a:pt x="7491356" y="206752"/>
                  <a:pt x="7367734" y="280166"/>
                  <a:pt x="7565449" y="258950"/>
                </a:cubicBezTo>
                <a:cubicBezTo>
                  <a:pt x="7575959" y="252432"/>
                  <a:pt x="7600854" y="257628"/>
                  <a:pt x="7599285" y="266021"/>
                </a:cubicBezTo>
                <a:cubicBezTo>
                  <a:pt x="7611616" y="262940"/>
                  <a:pt x="7639946" y="245819"/>
                  <a:pt x="7644411" y="258986"/>
                </a:cubicBezTo>
                <a:cubicBezTo>
                  <a:pt x="7708015" y="258012"/>
                  <a:pt x="7770249" y="247724"/>
                  <a:pt x="7825110" y="229109"/>
                </a:cubicBezTo>
                <a:cubicBezTo>
                  <a:pt x="7949762" y="247028"/>
                  <a:pt x="7921956" y="197757"/>
                  <a:pt x="7965804" y="190545"/>
                </a:cubicBezTo>
                <a:cubicBezTo>
                  <a:pt x="8039439" y="213878"/>
                  <a:pt x="8063651" y="191475"/>
                  <a:pt x="8147401" y="205617"/>
                </a:cubicBezTo>
                <a:cubicBezTo>
                  <a:pt x="8166453" y="196610"/>
                  <a:pt x="8225048" y="207099"/>
                  <a:pt x="8256033" y="193713"/>
                </a:cubicBezTo>
                <a:cubicBezTo>
                  <a:pt x="8311388" y="242017"/>
                  <a:pt x="8350376" y="178592"/>
                  <a:pt x="8410677" y="172167"/>
                </a:cubicBezTo>
                <a:cubicBezTo>
                  <a:pt x="8470978" y="165743"/>
                  <a:pt x="8572470" y="206385"/>
                  <a:pt x="8617841" y="155167"/>
                </a:cubicBezTo>
                <a:cubicBezTo>
                  <a:pt x="8646050" y="160448"/>
                  <a:pt x="8664949" y="183631"/>
                  <a:pt x="8715976" y="178374"/>
                </a:cubicBezTo>
                <a:cubicBezTo>
                  <a:pt x="8737194" y="188216"/>
                  <a:pt x="8738009" y="189511"/>
                  <a:pt x="8778827" y="172936"/>
                </a:cubicBezTo>
                <a:cubicBezTo>
                  <a:pt x="8725277" y="146372"/>
                  <a:pt x="8850819" y="175612"/>
                  <a:pt x="8840778" y="143149"/>
                </a:cubicBezTo>
                <a:cubicBezTo>
                  <a:pt x="8903519" y="121096"/>
                  <a:pt x="9021861" y="150359"/>
                  <a:pt x="9010380" y="91891"/>
                </a:cubicBezTo>
                <a:cubicBezTo>
                  <a:pt x="9027103" y="56852"/>
                  <a:pt x="9112524" y="108357"/>
                  <a:pt x="9110856" y="70997"/>
                </a:cubicBezTo>
                <a:cubicBezTo>
                  <a:pt x="9148189" y="94250"/>
                  <a:pt x="9209809" y="53285"/>
                  <a:pt x="9268817" y="53082"/>
                </a:cubicBezTo>
                <a:cubicBezTo>
                  <a:pt x="9279135" y="35997"/>
                  <a:pt x="9292736" y="36520"/>
                  <a:pt x="9316667" y="45047"/>
                </a:cubicBezTo>
                <a:cubicBezTo>
                  <a:pt x="9352186" y="45862"/>
                  <a:pt x="9390008" y="39799"/>
                  <a:pt x="9428209" y="29923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3" name="Content Placeholder 3">
            <a:extLst>
              <a:ext uri="{FF2B5EF4-FFF2-40B4-BE49-F238E27FC236}">
                <a16:creationId xmlns:a16="http://schemas.microsoft.com/office/drawing/2014/main" id="{7EB827BF-2588-A17E-0472-3B3E78AFFC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3350720"/>
              </p:ext>
            </p:extLst>
          </p:nvPr>
        </p:nvGraphicFramePr>
        <p:xfrm>
          <a:off x="1357949" y="1476860"/>
          <a:ext cx="10005884" cy="504425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95992">
                  <a:extLst>
                    <a:ext uri="{9D8B030D-6E8A-4147-A177-3AD203B41FA5}">
                      <a16:colId xmlns:a16="http://schemas.microsoft.com/office/drawing/2014/main" val="2187324093"/>
                    </a:ext>
                  </a:extLst>
                </a:gridCol>
                <a:gridCol w="2112675">
                  <a:extLst>
                    <a:ext uri="{9D8B030D-6E8A-4147-A177-3AD203B41FA5}">
                      <a16:colId xmlns:a16="http://schemas.microsoft.com/office/drawing/2014/main" val="1449233872"/>
                    </a:ext>
                  </a:extLst>
                </a:gridCol>
                <a:gridCol w="2826024">
                  <a:extLst>
                    <a:ext uri="{9D8B030D-6E8A-4147-A177-3AD203B41FA5}">
                      <a16:colId xmlns:a16="http://schemas.microsoft.com/office/drawing/2014/main" val="90267792"/>
                    </a:ext>
                  </a:extLst>
                </a:gridCol>
                <a:gridCol w="1908553">
                  <a:extLst>
                    <a:ext uri="{9D8B030D-6E8A-4147-A177-3AD203B41FA5}">
                      <a16:colId xmlns:a16="http://schemas.microsoft.com/office/drawing/2014/main" val="1688012060"/>
                    </a:ext>
                  </a:extLst>
                </a:gridCol>
                <a:gridCol w="2262640">
                  <a:extLst>
                    <a:ext uri="{9D8B030D-6E8A-4147-A177-3AD203B41FA5}">
                      <a16:colId xmlns:a16="http://schemas.microsoft.com/office/drawing/2014/main" val="3065909203"/>
                    </a:ext>
                  </a:extLst>
                </a:gridCol>
              </a:tblGrid>
              <a:tr h="6133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800">
                          <a:effectLst/>
                          <a:latin typeface="+mn-lt"/>
                        </a:rPr>
                        <a:t> </a:t>
                      </a:r>
                      <a:endParaRPr lang="en-GB" sz="18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athway </a:t>
                      </a:r>
                      <a:endParaRPr lang="en-GB" sz="18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athology requirements </a:t>
                      </a:r>
                      <a:endParaRPr lang="en-GB" sz="18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8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High risk groups </a:t>
                      </a:r>
                      <a:endParaRPr lang="en-GB" sz="180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  <a:latin typeface="+mn-lt"/>
                        </a:rPr>
                        <a:t> </a:t>
                      </a:r>
                      <a:endParaRPr lang="en-GB" sz="12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862171"/>
                  </a:ext>
                </a:extLst>
              </a:tr>
              <a:tr h="20823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ritical</a:t>
                      </a:r>
                      <a:endParaRPr lang="en-GB" sz="16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endParaRPr lang="en-US" sz="1600">
                        <a:effectLst/>
                        <a:latin typeface="+mn-lt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effectLst/>
                          <a:latin typeface="+mn-lt"/>
                        </a:rPr>
                        <a:t>Life threatening clinical presentation</a:t>
                      </a:r>
                      <a:endParaRPr lang="en-GB" sz="1600">
                        <a:effectLst/>
                        <a:latin typeface="+mn-lt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effectLst/>
                          <a:latin typeface="+mn-lt"/>
                        </a:rPr>
                        <a:t> </a:t>
                      </a:r>
                      <a:endParaRPr lang="en-GB" sz="1600">
                        <a:effectLst/>
                        <a:latin typeface="+mn-lt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endParaRPr lang="en-GB" sz="16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effectLst/>
                          <a:latin typeface="+mn-lt"/>
                        </a:rPr>
                        <a:t>Disease and complication management including interventions </a:t>
                      </a:r>
                      <a:endParaRPr lang="en-GB" sz="16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endParaRPr lang="en-US" sz="1600">
                        <a:effectLst/>
                        <a:latin typeface="+mn-lt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effectLst/>
                          <a:latin typeface="+mn-lt"/>
                        </a:rPr>
                        <a:t>All patients </a:t>
                      </a:r>
                      <a:endParaRPr lang="en-GB" sz="1600">
                        <a:effectLst/>
                        <a:latin typeface="+mn-lt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effectLst/>
                          <a:latin typeface="+mn-lt"/>
                        </a:rPr>
                        <a:t> </a:t>
                      </a:r>
                      <a:endParaRPr lang="en-GB" sz="16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effectLst/>
                          <a:latin typeface="+mn-lt"/>
                        </a:rPr>
                        <a:t>Use </a:t>
                      </a:r>
                      <a:r>
                        <a:rPr lang="en-US" sz="1600" b="1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emergency</a:t>
                      </a:r>
                      <a:r>
                        <a:rPr lang="en-US" sz="1600">
                          <a:effectLst/>
                          <a:latin typeface="+mn-lt"/>
                        </a:rPr>
                        <a:t> care pathways – A&amp;E, SDEC etc.</a:t>
                      </a: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f sending to emergency care pathways do not take bloods/sample(s)</a:t>
                      </a:r>
                      <a:endParaRPr lang="en-GB" sz="16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423229"/>
                  </a:ext>
                </a:extLst>
              </a:tr>
              <a:tr h="147221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rgent / Critical</a:t>
                      </a:r>
                      <a:endParaRPr lang="en-GB" sz="16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effectLst/>
                          <a:latin typeface="+mn-lt"/>
                        </a:rPr>
                        <a:t>Preventing emergency attendance and admission</a:t>
                      </a:r>
                      <a:endParaRPr lang="en-GB" sz="16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effectLst/>
                          <a:latin typeface="+mn-lt"/>
                        </a:rPr>
                        <a:t>Disease and complication management potential in the community but require diagnostic e.g. renal function, CRP, FBC</a:t>
                      </a:r>
                      <a:endParaRPr lang="en-GB" sz="1600">
                        <a:effectLst/>
                        <a:latin typeface="+mn-lt"/>
                      </a:endParaRPr>
                    </a:p>
                  </a:txBody>
                  <a:tcPr marL="23088" marR="23088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effectLst/>
                          <a:latin typeface="+mn-lt"/>
                        </a:rPr>
                        <a:t>All patients </a:t>
                      </a:r>
                      <a:endParaRPr lang="en-GB" sz="1600">
                        <a:effectLst/>
                        <a:latin typeface="+mn-lt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effectLst/>
                          <a:latin typeface="+mn-lt"/>
                        </a:rPr>
                        <a:t> </a:t>
                      </a:r>
                      <a:endParaRPr lang="en-GB" sz="16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effectLst/>
                          <a:latin typeface="+mn-lt"/>
                        </a:rPr>
                        <a:t>Use </a:t>
                      </a:r>
                      <a:r>
                        <a:rPr lang="en-US" sz="1600" b="1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urgent</a:t>
                      </a:r>
                      <a:r>
                        <a:rPr lang="en-US" sz="1600">
                          <a:effectLst/>
                          <a:latin typeface="+mn-lt"/>
                        </a:rPr>
                        <a:t> pathology pathway (i.e. mutual aid provision)</a:t>
                      </a:r>
                      <a:endParaRPr lang="en-GB" sz="16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6625245"/>
                  </a:ext>
                </a:extLst>
              </a:tr>
              <a:tr h="8763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ritical</a:t>
                      </a:r>
                      <a:endParaRPr lang="en-GB" sz="16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effectLst/>
                          <a:latin typeface="+mn-lt"/>
                        </a:rPr>
                        <a:t>Immunosuppressed patients who are clinically unwell/sepsis</a:t>
                      </a:r>
                      <a:endParaRPr lang="en-GB" sz="1600">
                        <a:effectLst/>
                        <a:latin typeface="+mn-lt"/>
                      </a:endParaRPr>
                    </a:p>
                  </a:txBody>
                  <a:tcPr marL="23088" marR="23088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effectLst/>
                          <a:latin typeface="+mn-lt"/>
                        </a:rPr>
                        <a:t> </a:t>
                      </a:r>
                      <a:endParaRPr lang="en-GB" sz="16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effectLst/>
                          <a:latin typeface="+mn-lt"/>
                        </a:rPr>
                        <a:t>All patients with immunosuppression</a:t>
                      </a:r>
                      <a:endParaRPr lang="en-GB" sz="16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Bef>
                          <a:spcPts val="500"/>
                        </a:spcBef>
                        <a:spcAft>
                          <a:spcPts val="1000"/>
                        </a:spcAft>
                      </a:pPr>
                      <a:r>
                        <a:rPr lang="en-US" sz="1600">
                          <a:effectLst/>
                          <a:latin typeface="+mn-lt"/>
                        </a:rPr>
                        <a:t>Use </a:t>
                      </a:r>
                      <a:r>
                        <a:rPr lang="en-US" sz="1600" b="1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emergency</a:t>
                      </a:r>
                      <a:r>
                        <a:rPr lang="en-US" sz="1600">
                          <a:effectLst/>
                          <a:latin typeface="+mn-lt"/>
                        </a:rPr>
                        <a:t> care pathways</a:t>
                      </a:r>
                      <a:endParaRPr lang="en-GB" sz="16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3088" marR="23088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5136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00234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97FEBAD-B571-97EC-0FD1-09FA2BF20355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774634775"/>
              </p:ext>
            </p:extLst>
          </p:nvPr>
        </p:nvGraphicFramePr>
        <p:xfrm>
          <a:off x="916404" y="1208362"/>
          <a:ext cx="10455230" cy="4441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7615">
                  <a:extLst>
                    <a:ext uri="{9D8B030D-6E8A-4147-A177-3AD203B41FA5}">
                      <a16:colId xmlns:a16="http://schemas.microsoft.com/office/drawing/2014/main" val="2769838704"/>
                    </a:ext>
                  </a:extLst>
                </a:gridCol>
                <a:gridCol w="5227615">
                  <a:extLst>
                    <a:ext uri="{9D8B030D-6E8A-4147-A177-3AD203B41FA5}">
                      <a16:colId xmlns:a16="http://schemas.microsoft.com/office/drawing/2014/main" val="3331588537"/>
                    </a:ext>
                  </a:extLst>
                </a:gridCol>
              </a:tblGrid>
              <a:tr h="507706"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Urgent/Important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Routine*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4806479"/>
                  </a:ext>
                </a:extLst>
              </a:tr>
              <a:tr h="1392352">
                <a:tc>
                  <a:txBody>
                    <a:bodyPr/>
                    <a:lstStyle/>
                    <a:p>
                      <a:pPr lvl="0"/>
                      <a:r>
                        <a:rPr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uretic adjustment in heart failure especially in those with CKD</a:t>
                      </a:r>
                      <a:endParaRPr lang="en-US" sz="1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en-US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ecific guidance on monitoring medications will be published by the SEL Medicines </a:t>
                      </a:r>
                      <a:r>
                        <a:rPr lang="en-US" sz="18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misation</a:t>
                      </a:r>
                      <a:r>
                        <a:rPr lang="en-US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eam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t of routine QOF LTC reviews – T2DM, CVD, CKD, etc </a:t>
                      </a:r>
                      <a:endParaRPr lang="en-GB" dirty="0"/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0429605"/>
                  </a:ext>
                </a:extLst>
              </a:tr>
              <a:tr h="8702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inical concern re hypo- or hyperkalaemia - see </a:t>
                      </a: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 action="ppaction://hlinksldjump"/>
                        </a:rPr>
                        <a:t>here</a:t>
                      </a:r>
                      <a:endParaRPr lang="en-GB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ease refer to the 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+mn-lt"/>
                          <a:cs typeface="Times New Roman"/>
                        </a:rPr>
                        <a:t>SEL Medicines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+mn-lt"/>
                          <a:cs typeface="Times New Roman"/>
                        </a:rPr>
                        <a:t>Optimisation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+mn-lt"/>
                          <a:cs typeface="Times New Roman"/>
                        </a:rPr>
                        <a:t> Team’s recommendations on monitoring medications used in long-term conditions e.g. CVD, CKD etc. – guidance expected in w/c 24 June.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7279071"/>
                  </a:ext>
                </a:extLst>
              </a:tr>
              <a:tr h="7565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sible hyponatraemia – see </a:t>
                      </a: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 action="ppaction://hlinksldjump"/>
                        </a:rPr>
                        <a:t>here</a:t>
                      </a: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e.g. polydipsia, polyuria)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8104463"/>
                  </a:ext>
                </a:extLst>
              </a:tr>
              <a:tr h="8702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ute kidney injury – repeat within 24 hours if possible or if concerned admit to ED</a:t>
                      </a:r>
                      <a:endParaRPr lang="en-GB" dirty="0"/>
                    </a:p>
                    <a:p>
                      <a:endParaRPr lang="en-GB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3601734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30AFEBB-D2E9-0BD4-0C79-B113E6CDC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7196" y="459909"/>
            <a:ext cx="7524521" cy="662782"/>
          </a:xfrm>
        </p:spPr>
        <p:txBody>
          <a:bodyPr/>
          <a:lstStyle/>
          <a:p>
            <a:r>
              <a:rPr lang="en-GB" dirty="0"/>
              <a:t>Renal profile</a:t>
            </a:r>
            <a:endParaRPr lang="en-GB" dirty="0">
              <a:solidFill>
                <a:srgbClr val="00206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43A4E07-9BC4-F906-4E66-9E61EA4096F1}"/>
              </a:ext>
            </a:extLst>
          </p:cNvPr>
          <p:cNvSpPr txBox="1"/>
          <p:nvPr/>
        </p:nvSpPr>
        <p:spPr>
          <a:xfrm>
            <a:off x="2042809" y="5784636"/>
            <a:ext cx="86349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*Record that a test is delayed using the Ardens </a:t>
            </a:r>
            <a:r>
              <a:rPr lang="en-GB" b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‘</a:t>
            </a:r>
            <a:r>
              <a:rPr lang="en-GB" b="1" i="1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EL test delay protocol and template’</a:t>
            </a:r>
            <a:endParaRPr lang="en-GB" b="1" i="1" dirty="0">
              <a:solidFill>
                <a:srgbClr val="7030A0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99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3ED498C2-C86E-05C2-88D7-03EE7C8B7149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74626416"/>
              </p:ext>
            </p:extLst>
          </p:nvPr>
        </p:nvGraphicFramePr>
        <p:xfrm>
          <a:off x="868576" y="1179572"/>
          <a:ext cx="10635917" cy="49189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35917">
                  <a:extLst>
                    <a:ext uri="{9D8B030D-6E8A-4147-A177-3AD203B41FA5}">
                      <a16:colId xmlns:a16="http://schemas.microsoft.com/office/drawing/2014/main" val="1111153649"/>
                    </a:ext>
                  </a:extLst>
                </a:gridCol>
              </a:tblGrid>
              <a:tr h="883701">
                <a:tc>
                  <a:txBody>
                    <a:bodyPr/>
                    <a:lstStyle/>
                    <a:p>
                      <a:pPr algn="ctr"/>
                      <a:r>
                        <a:rPr lang="en-GB" sz="2800">
                          <a:latin typeface="+mn-lt"/>
                        </a:rPr>
                        <a:t>HYPERKALAEMIA</a:t>
                      </a:r>
                      <a:br>
                        <a:rPr lang="en-GB"/>
                      </a:br>
                      <a:r>
                        <a:rPr lang="en-GB" sz="1100" u="sng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hlinkClick r:id="rId3" tooltip="Original URL: https://ukkidney.org/sites/renal.org/files/FINAL%20VERSION%20-%20UKKA%20CLINICAL%20PRACTICE%20GUIDELINE%20-%20MANAGEMENT%20OF%20HYPERKALAEMIA%20IN%20ADULTS%20-%20191223.pdf. Click or tap if you trust this link.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ttps://ukkidney.org/sites/renal.org/files/FINAL%20VERSION%20-%20UKKA%20CLINICAL%20PRACTICE%20GUIDELINE%20-%20MANAGEMENT%20OF%20HYPERKALAEMIA%20IN%20ADULTS%20-%20191223.pdf</a:t>
                      </a:r>
                      <a:endParaRPr lang="en-GB" sz="110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8088003"/>
                  </a:ext>
                </a:extLst>
              </a:tr>
              <a:tr h="4035261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ld — serum potassium concentration </a:t>
                      </a:r>
                      <a:r>
                        <a:rPr lang="en-GB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5 - 5.9 </a:t>
                      </a: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mol/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erate — serum potassium concentration </a:t>
                      </a:r>
                      <a:r>
                        <a:rPr lang="en-GB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0-6.4</a:t>
                      </a: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mol/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vere — serum potassium concentration  </a:t>
                      </a:r>
                      <a:r>
                        <a:rPr lang="en-GB" sz="1800" b="1" i="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gt;</a:t>
                      </a:r>
                      <a:r>
                        <a:rPr lang="en-GB" sz="1800" b="1" i="0" u="non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6.5 </a:t>
                      </a: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mol/L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ld hyperkalaemia (K</a:t>
                      </a:r>
                      <a:r>
                        <a:rPr lang="en-GB" sz="1800" b="1" kern="1200" baseline="30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≥ 5.5 mmol/l): </a:t>
                      </a: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thhold relevant medication(s), modify dietary factors; repeat test within 3 days or as soon as it is feasible </a:t>
                      </a:r>
                      <a:r>
                        <a:rPr lang="en-GB" sz="180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urgent/important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erate hyperkalaemia (K</a:t>
                      </a:r>
                      <a:r>
                        <a:rPr lang="en-GB" sz="1800" b="1" kern="1200" baseline="30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0 – 6.4 mmol/l)</a:t>
                      </a: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Repeat serum K</a:t>
                      </a:r>
                      <a:r>
                        <a:rPr lang="en-GB" sz="1800" kern="1200" baseline="30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</a:t>
                      </a: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thin 1 day of first detection </a:t>
                      </a:r>
                      <a:r>
                        <a:rPr lang="en-GB" sz="180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urgent) </a:t>
                      </a: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wever if clinically concerned discuss with acute medical team/SDEC </a:t>
                      </a:r>
                      <a:r>
                        <a:rPr lang="en-GB" sz="180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critical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vere hyperkalaemia (K</a:t>
                      </a:r>
                      <a:r>
                        <a:rPr lang="en-GB" sz="1800" b="1" kern="1200" baseline="30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≥ 6.5 mmol/l): </a:t>
                      </a:r>
                      <a:r>
                        <a:rPr lang="en-GB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 detected in the community – admit for immediate assessment and treatment via ED </a:t>
                      </a:r>
                      <a:r>
                        <a:rPr lang="en-GB" sz="180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critical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66242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9930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392B180-F2EC-9433-C02A-82587A048019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624550324"/>
              </p:ext>
            </p:extLst>
          </p:nvPr>
        </p:nvGraphicFramePr>
        <p:xfrm>
          <a:off x="575511" y="1107952"/>
          <a:ext cx="11340872" cy="524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40872">
                  <a:extLst>
                    <a:ext uri="{9D8B030D-6E8A-4147-A177-3AD203B41FA5}">
                      <a16:colId xmlns:a16="http://schemas.microsoft.com/office/drawing/2014/main" val="1111153649"/>
                    </a:ext>
                  </a:extLst>
                </a:gridCol>
              </a:tblGrid>
              <a:tr h="486315">
                <a:tc>
                  <a:txBody>
                    <a:bodyPr/>
                    <a:lstStyle/>
                    <a:p>
                      <a:pPr algn="ctr"/>
                      <a:r>
                        <a:rPr lang="en-GB" sz="2600">
                          <a:latin typeface="+mn-lt"/>
                        </a:rPr>
                        <a:t>HYPONATRAEMIA</a:t>
                      </a:r>
                      <a:r>
                        <a:rPr lang="en-GB">
                          <a:latin typeface="+mn-lt"/>
                        </a:rPr>
                        <a:t> (</a:t>
                      </a:r>
                      <a:r>
                        <a:rPr lang="en-GB" sz="1800">
                          <a:latin typeface="+mn-lt"/>
                        </a:rPr>
                        <a:t>NICE 2020)</a:t>
                      </a:r>
                      <a:endParaRPr lang="en-GB" b="1"/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568637"/>
                  </a:ext>
                </a:extLst>
              </a:tr>
              <a:tr h="4741568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ld</a:t>
                      </a: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— serum sodium concentration </a:t>
                      </a:r>
                      <a:r>
                        <a:rPr lang="en-GB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0–135 mmol/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erate</a:t>
                      </a: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— serum sodium concentration </a:t>
                      </a:r>
                      <a:r>
                        <a:rPr lang="en-GB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5–129 mmol/L</a:t>
                      </a:r>
                      <a:endParaRPr lang="en-GB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vere</a:t>
                      </a: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— serum sodium concentration </a:t>
                      </a:r>
                      <a:r>
                        <a:rPr lang="en-GB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≤125 mmol/L</a:t>
                      </a:r>
                    </a:p>
                    <a:p>
                      <a:endParaRPr lang="en-GB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ute — duration of less than 48 hours</a:t>
                      </a:r>
                    </a:p>
                    <a:p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ronic — duration of 48 hours or more</a:t>
                      </a:r>
                    </a:p>
                    <a:p>
                      <a:endParaRPr lang="en-GB" sz="1800" b="1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ymptomatic</a:t>
                      </a:r>
                      <a:r>
                        <a:rPr lang="en-GB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GB" sz="18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ld</a:t>
                      </a:r>
                      <a:r>
                        <a:rPr lang="en-GB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hyponatraemia: The underlying cause of hyponatraemia should be sought in primary care (if possible and appropriate) </a:t>
                      </a:r>
                      <a:r>
                        <a:rPr lang="en-GB" sz="1800" b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important)</a:t>
                      </a:r>
                    </a:p>
                    <a:p>
                      <a:endParaRPr lang="en-GB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ymptomatic, moderate</a:t>
                      </a: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hyponatraemia: Specialist advice from SDEC/acute medical team should be sought regarding the need for admission or referral </a:t>
                      </a:r>
                      <a:r>
                        <a:rPr lang="en-GB" sz="1800" b="0" i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urgent)</a:t>
                      </a:r>
                    </a:p>
                    <a:p>
                      <a:endParaRPr lang="en-GB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vere</a:t>
                      </a: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r </a:t>
                      </a:r>
                      <a:r>
                        <a:rPr lang="en-GB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mptomatic</a:t>
                      </a: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hyponatraemia: Admission to ED/SDEC </a:t>
                      </a:r>
                      <a:r>
                        <a:rPr lang="en-GB" sz="1800" b="0" i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critical)</a:t>
                      </a:r>
                    </a:p>
                    <a:p>
                      <a:endParaRPr lang="en-GB" sz="1800" b="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800" b="0" i="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lang="en-GB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f a person has an acute illness that may be </a:t>
                      </a:r>
                      <a:r>
                        <a:rPr lang="en-GB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ibuting to the hyponatraemia, treat this, consider withholding relevant medication(s) during this time</a:t>
                      </a:r>
                      <a:endParaRPr lang="en-GB" b="0" dirty="0"/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66242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88712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  -  Compatibility Mode" id="{C8D68B3C-46FE-8A44-B1C6-695B798B8244}" vid="{D602DA36-49CC-6743-9D3E-2F4DC04F358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18b40b6-2337-4573-ae6a-afbaa425a74d">
      <Terms xmlns="http://schemas.microsoft.com/office/infopath/2007/PartnerControls"/>
    </lcf76f155ced4ddcb4097134ff3c332f>
    <TaxCatchAll xmlns="1de545fd-0aff-465f-8fdd-0ca6948299b6" xsi:nil="true"/>
    <SharedWithUsers xmlns="1de545fd-0aff-465f-8fdd-0ca6948299b6">
      <UserInfo>
        <DisplayName>Fiona Leacock (NHS South East London ICB)</DisplayName>
        <AccountId>36</AccountId>
        <AccountType/>
      </UserInfo>
      <UserInfo>
        <DisplayName>Elizabeth Aitken (NHS South East London ICB)</DisplayName>
        <AccountId>38</AccountId>
        <AccountType/>
      </UserInfo>
      <UserInfo>
        <DisplayName>Paul Larrisey (NHS South East London ICB)</DisplayName>
        <AccountId>12</AccountId>
        <AccountType/>
      </UserInfo>
      <UserInfo>
        <DisplayName>Vanessa Burgess (NHS South East London ICB)</DisplayName>
        <AccountId>48</AccountId>
        <AccountType/>
      </UserInfo>
      <UserInfo>
        <DisplayName>Bom Lee (NHS South East London ICB)</DisplayName>
        <AccountId>53</AccountId>
        <AccountType/>
      </UserInfo>
      <UserInfo>
        <DisplayName>Toby Garrood (NHS South East London ICB)</DisplayName>
        <AccountId>54</AccountId>
        <AccountType/>
      </UserInfo>
      <UserInfo>
        <DisplayName>Prad Velayuthan (NHS South East London ICB)</DisplayName>
        <AccountId>55</AccountId>
        <AccountType/>
      </UserInfo>
      <UserInfo>
        <DisplayName>HOWELL, Sian (THE JENNER PRACTICE)</DisplayName>
        <AccountId>58</AccountId>
        <AccountType/>
      </UserInfo>
      <UserInfo>
        <DisplayName>Mark Essop (NHS South East London ICB)</DisplayName>
        <AccountId>60</AccountId>
        <AccountType/>
      </UserInfo>
      <UserInfo>
        <DisplayName>Benjamin Cahill (NHS South East London ICB)</DisplayName>
        <AccountId>62</AccountId>
        <AccountType/>
      </UserInfo>
      <UserInfo>
        <DisplayName>Finlay Royle (NHS South East London ICB)</DisplayName>
        <AccountId>63</AccountId>
        <AccountType/>
      </UserInfo>
      <UserInfo>
        <DisplayName>Julian Walker (NHS South East London ICB)</DisplayName>
        <AccountId>42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21C8168034474AACA67EDD3D3B9852" ma:contentTypeVersion="13" ma:contentTypeDescription="Create a new document." ma:contentTypeScope="" ma:versionID="98a322b941af403d2d946596fbbec1f7">
  <xsd:schema xmlns:xsd="http://www.w3.org/2001/XMLSchema" xmlns:xs="http://www.w3.org/2001/XMLSchema" xmlns:p="http://schemas.microsoft.com/office/2006/metadata/properties" xmlns:ns2="a18b40b6-2337-4573-ae6a-afbaa425a74d" xmlns:ns3="1de545fd-0aff-465f-8fdd-0ca6948299b6" targetNamespace="http://schemas.microsoft.com/office/2006/metadata/properties" ma:root="true" ma:fieldsID="0f9831af7cb1b295b957a4467c3c77e8" ns2:_="" ns3:_="">
    <xsd:import namespace="a18b40b6-2337-4573-ae6a-afbaa425a74d"/>
    <xsd:import namespace="1de545fd-0aff-465f-8fdd-0ca6948299b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8b40b6-2337-4573-ae6a-afbaa425a74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65629fe-fa3b-4d8f-b0ac-4a13011ce3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e545fd-0aff-465f-8fdd-0ca6948299b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a9f8fd05-2435-4e77-9e3a-6e22e7f33656}" ma:internalName="TaxCatchAll" ma:showField="CatchAllData" ma:web="1de545fd-0aff-465f-8fdd-0ca6948299b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A9066BB-6E68-4A9D-9848-A5363CFD3E4F}">
  <ds:schemaRefs>
    <ds:schemaRef ds:uri="http://purl.org/dc/dcmitype/"/>
    <ds:schemaRef ds:uri="http://www.w3.org/XML/1998/namespace"/>
    <ds:schemaRef ds:uri="http://purl.org/dc/elements/1.1/"/>
    <ds:schemaRef ds:uri="http://purl.org/dc/terms/"/>
    <ds:schemaRef ds:uri="http://schemas.microsoft.com/office/2006/documentManagement/types"/>
    <ds:schemaRef ds:uri="http://schemas.microsoft.com/office/infopath/2007/PartnerControls"/>
    <ds:schemaRef ds:uri="a18b40b6-2337-4573-ae6a-afbaa425a74d"/>
    <ds:schemaRef ds:uri="http://schemas.openxmlformats.org/package/2006/metadata/core-properties"/>
    <ds:schemaRef ds:uri="1de545fd-0aff-465f-8fdd-0ca6948299b6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D109BEA6-CA7B-4FBD-8BBB-290507871B3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7BB1E94-E4CE-4EE4-BD6A-1E841DFA0CF0}">
  <ds:schemaRefs>
    <ds:schemaRef ds:uri="1de545fd-0aff-465f-8fdd-0ca6948299b6"/>
    <ds:schemaRef ds:uri="a18b40b6-2337-4573-ae6a-afbaa425a74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8</TotalTime>
  <Words>2342</Words>
  <Application>Microsoft Office PowerPoint</Application>
  <PresentationFormat>Widescreen</PresentationFormat>
  <Paragraphs>270</Paragraphs>
  <Slides>19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ptos</vt:lpstr>
      <vt:lpstr>Arial</vt:lpstr>
      <vt:lpstr>Calibri</vt:lpstr>
      <vt:lpstr>Calibri Light</vt:lpstr>
      <vt:lpstr>Times New Roman</vt:lpstr>
      <vt:lpstr>Office Theme</vt:lpstr>
      <vt:lpstr>think-cell Slide</vt:lpstr>
      <vt:lpstr>PowerPoint Presentation</vt:lpstr>
      <vt:lpstr>Table of Contents</vt:lpstr>
      <vt:lpstr>Purpose</vt:lpstr>
      <vt:lpstr>General principles during this period</vt:lpstr>
      <vt:lpstr>Definitions</vt:lpstr>
      <vt:lpstr>PowerPoint Presentation</vt:lpstr>
      <vt:lpstr>Renal profile</vt:lpstr>
      <vt:lpstr>PowerPoint Presentation</vt:lpstr>
      <vt:lpstr>PowerPoint Presentation</vt:lpstr>
      <vt:lpstr>PowerPoint Presentation</vt:lpstr>
      <vt:lpstr>Other tests </vt:lpstr>
      <vt:lpstr>Other tests </vt:lpstr>
      <vt:lpstr>Microbiology</vt:lpstr>
      <vt:lpstr>Cellular Pathology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mes Smart</dc:creator>
  <cp:lastModifiedBy>Julian Walker (NHS South East London ICB)</cp:lastModifiedBy>
  <cp:revision>3</cp:revision>
  <dcterms:created xsi:type="dcterms:W3CDTF">2022-06-15T14:33:04Z</dcterms:created>
  <dcterms:modified xsi:type="dcterms:W3CDTF">2024-06-21T16:01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21C8168034474AACA67EDD3D3B9852</vt:lpwstr>
  </property>
  <property fmtid="{D5CDD505-2E9C-101B-9397-08002B2CF9AE}" pid="3" name="MediaServiceImageTags">
    <vt:lpwstr/>
  </property>
  <property fmtid="{D5CDD505-2E9C-101B-9397-08002B2CF9AE}" pid="4" name="lcf76f155ced4ddcb4097134ff3c332f">
    <vt:lpwstr/>
  </property>
  <property fmtid="{D5CDD505-2E9C-101B-9397-08002B2CF9AE}" pid="5" name="TaxCatchAll">
    <vt:lpwstr/>
  </property>
</Properties>
</file>